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1"/>
  </p:sldMasterIdLst>
  <p:notesMasterIdLst>
    <p:notesMasterId r:id="rId17"/>
  </p:notesMasterIdLst>
  <p:handoutMasterIdLst>
    <p:handoutMasterId r:id="rId18"/>
  </p:handoutMasterIdLst>
  <p:sldIdLst>
    <p:sldId id="482" r:id="rId2"/>
    <p:sldId id="347" r:id="rId3"/>
    <p:sldId id="485" r:id="rId4"/>
    <p:sldId id="2865" r:id="rId5"/>
    <p:sldId id="2879" r:id="rId6"/>
    <p:sldId id="2881" r:id="rId7"/>
    <p:sldId id="2853" r:id="rId8"/>
    <p:sldId id="2830" r:id="rId9"/>
    <p:sldId id="2832" r:id="rId10"/>
    <p:sldId id="487" r:id="rId11"/>
    <p:sldId id="609" r:id="rId12"/>
    <p:sldId id="610" r:id="rId13"/>
    <p:sldId id="2882" r:id="rId14"/>
    <p:sldId id="341" r:id="rId15"/>
    <p:sldId id="639" r:id="rId16"/>
  </p:sldIdLst>
  <p:sldSz cx="12192000" cy="6858000"/>
  <p:notesSz cx="7077075" cy="9345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A1A4"/>
    <a:srgbClr val="57595B"/>
    <a:srgbClr val="1A5B97"/>
    <a:srgbClr val="ABA8AA"/>
    <a:srgbClr val="53565A"/>
    <a:srgbClr val="005DA6"/>
    <a:srgbClr val="CFCED0"/>
    <a:srgbClr val="006892"/>
    <a:srgbClr val="003F5F"/>
    <a:srgbClr val="A434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86" autoAdjust="0"/>
    <p:restoredTop sz="96341"/>
  </p:normalViewPr>
  <p:slideViewPr>
    <p:cSldViewPr snapToGrid="0">
      <p:cViewPr varScale="1">
        <p:scale>
          <a:sx n="87" d="100"/>
          <a:sy n="87" d="100"/>
        </p:scale>
        <p:origin x="96" y="49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5" d="100"/>
          <a:sy n="85" d="100"/>
        </p:scale>
        <p:origin x="382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rascierto\Dropbox%20(451%20Group)\AA%20Data%20Hall\_AAA%20UIR%20Uptime%20research\Content\Outages\Outages%20graphs%20Master%20January%2017%202019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Categories_total!$B$1</c:f>
              <c:strCache>
                <c:ptCount val="1"/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E38-2642-A520-A7E6185FBA0D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E38-2642-A520-A7E6185FBA0D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E38-2642-A520-A7E6185FBA0D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E38-2642-A520-A7E6185FBA0D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E38-2642-A520-A7E6185FBA0D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5E38-2642-A520-A7E6185FBA0D}"/>
              </c:ext>
            </c:extLst>
          </c:dPt>
          <c:dPt>
            <c:idx val="6"/>
            <c:bubble3D val="0"/>
            <c:spPr>
              <a:gradFill rotWithShape="1">
                <a:gsLst>
                  <a:gs pos="0">
                    <a:schemeClr val="accent1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5E38-2642-A520-A7E6185FBA0D}"/>
              </c:ext>
            </c:extLst>
          </c:dPt>
          <c:dPt>
            <c:idx val="7"/>
            <c:bubble3D val="0"/>
            <c:spPr>
              <a:gradFill rotWithShape="1">
                <a:gsLst>
                  <a:gs pos="0">
                    <a:schemeClr val="accent2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5E38-2642-A520-A7E6185FBA0D}"/>
              </c:ext>
            </c:extLst>
          </c:dPt>
          <c:dPt>
            <c:idx val="8"/>
            <c:bubble3D val="0"/>
            <c:spPr>
              <a:gradFill rotWithShape="1">
                <a:gsLst>
                  <a:gs pos="0">
                    <a:schemeClr val="accent3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5E38-2642-A520-A7E6185FBA0D}"/>
              </c:ext>
            </c:extLst>
          </c:dPt>
          <c:dLbls>
            <c:dLbl>
              <c:idx val="0"/>
              <c:layout>
                <c:manualLayout>
                  <c:x val="-0.14574128620520377"/>
                  <c:y val="8.5526384053624324E-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48257241040748"/>
                      <c:h val="0.1415383834956176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5E38-2642-A520-A7E6185FBA0D}"/>
                </c:ext>
              </c:extLst>
            </c:dLbl>
            <c:dLbl>
              <c:idx val="1"/>
              <c:layout>
                <c:manualLayout>
                  <c:x val="2.335817075700589E-2"/>
                  <c:y val="-1.959515541689030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E38-2642-A520-A7E6185FBA0D}"/>
                </c:ext>
              </c:extLst>
            </c:dLbl>
            <c:dLbl>
              <c:idx val="2"/>
              <c:layout>
                <c:manualLayout>
                  <c:x val="9.9912736423410989E-2"/>
                  <c:y val="1.845144400563747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E38-2642-A520-A7E6185FBA0D}"/>
                </c:ext>
              </c:extLst>
            </c:dLbl>
            <c:dLbl>
              <c:idx val="6"/>
              <c:layout>
                <c:manualLayout>
                  <c:x val="-0.14122527531996645"/>
                  <c:y val="-9.411735385668951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5E38-2642-A520-A7E6185FBA0D}"/>
                </c:ext>
              </c:extLst>
            </c:dLbl>
            <c:dLbl>
              <c:idx val="7"/>
              <c:layout>
                <c:manualLayout>
                  <c:x val="8.601815398075241E-2"/>
                  <c:y val="-0.1950538138522540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5E38-2642-A520-A7E6185FBA0D}"/>
                </c:ext>
              </c:extLst>
            </c:dLbl>
            <c:dLbl>
              <c:idx val="8"/>
              <c:layout>
                <c:manualLayout>
                  <c:x val="0.12916446816570609"/>
                  <c:y val="0.1371677132778881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5E38-2642-A520-A7E6185FBA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Categories_total!$A$2:$A$10</c:f>
              <c:strCache>
                <c:ptCount val="9"/>
                <c:pt idx="0">
                  <c:v>Cooling/mechanical </c:v>
                </c:pt>
                <c:pt idx="1">
                  <c:v>Other/external</c:v>
                </c:pt>
                <c:pt idx="2">
                  <c:v>Fire suppression</c:v>
                </c:pt>
                <c:pt idx="3">
                  <c:v>Security</c:v>
                </c:pt>
                <c:pt idx="4">
                  <c:v>Fire</c:v>
                </c:pt>
                <c:pt idx="5">
                  <c:v>Unknown/not disclosed</c:v>
                </c:pt>
                <c:pt idx="6">
                  <c:v>Power</c:v>
                </c:pt>
                <c:pt idx="7">
                  <c:v>Network</c:v>
                </c:pt>
                <c:pt idx="8">
                  <c:v>IT system</c:v>
                </c:pt>
              </c:strCache>
            </c:strRef>
          </c:cat>
          <c:val>
            <c:numRef>
              <c:f>Categories_total!$B$2:$B$10</c:f>
              <c:numCache>
                <c:formatCode>General</c:formatCode>
                <c:ptCount val="9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6</c:v>
                </c:pt>
                <c:pt idx="4">
                  <c:v>8</c:v>
                </c:pt>
                <c:pt idx="5">
                  <c:v>11</c:v>
                </c:pt>
                <c:pt idx="6">
                  <c:v>39</c:v>
                </c:pt>
                <c:pt idx="7">
                  <c:v>44</c:v>
                </c:pt>
                <c:pt idx="8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5E38-2642-A520-A7E6185FBA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AFB7229-624C-45C2-B579-AB73F31EF603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05862F2-3266-42F7-B58F-7561A9C3A0FA}">
      <dgm:prSet phldrT="[Text]" custT="1"/>
      <dgm:spPr>
        <a:solidFill>
          <a:srgbClr val="7030A0"/>
        </a:solidFill>
      </dgm:spPr>
      <dgm:t>
        <a:bodyPr anchor="ctr"/>
        <a:lstStyle/>
        <a:p>
          <a:r>
            <a:rPr lang="en-US" sz="2800" b="1" u="sng" dirty="0">
              <a:solidFill>
                <a:schemeClr val="bg1"/>
              </a:solidFill>
            </a:rPr>
            <a:t>Process</a:t>
          </a:r>
        </a:p>
      </dgm:t>
    </dgm:pt>
    <dgm:pt modelId="{11681550-99E8-4E66-8932-E1F647DF0CD5}" type="parTrans" cxnId="{604E9AFA-3EC6-4E05-B70D-98A9C0E0271B}">
      <dgm:prSet/>
      <dgm:spPr/>
      <dgm:t>
        <a:bodyPr/>
        <a:lstStyle/>
        <a:p>
          <a:endParaRPr lang="en-US" b="1"/>
        </a:p>
      </dgm:t>
    </dgm:pt>
    <dgm:pt modelId="{4183B027-CE3D-4E81-BB8A-11AA82C07524}" type="sibTrans" cxnId="{604E9AFA-3EC6-4E05-B70D-98A9C0E0271B}">
      <dgm:prSet/>
      <dgm:spPr/>
      <dgm:t>
        <a:bodyPr/>
        <a:lstStyle/>
        <a:p>
          <a:endParaRPr lang="en-US" b="1"/>
        </a:p>
      </dgm:t>
    </dgm:pt>
    <dgm:pt modelId="{E8E500AB-66DC-4818-9777-E181DDE50BE0}">
      <dgm:prSet phldrT="[Text]" custT="1"/>
      <dgm:spPr>
        <a:solidFill>
          <a:srgbClr val="0070C0"/>
        </a:solidFill>
      </dgm:spPr>
      <dgm:t>
        <a:bodyPr anchor="ctr"/>
        <a:lstStyle/>
        <a:p>
          <a:r>
            <a:rPr lang="en-US" sz="2800" b="1" u="sng" dirty="0">
              <a:solidFill>
                <a:schemeClr val="bg1"/>
              </a:solidFill>
            </a:rPr>
            <a:t>Products</a:t>
          </a:r>
        </a:p>
      </dgm:t>
    </dgm:pt>
    <dgm:pt modelId="{3AB74632-02E6-4BCF-AA0E-C8EA593E1A4C}" type="sibTrans" cxnId="{D2DBE0D7-58B0-41B2-A7DD-D1836890F5AE}">
      <dgm:prSet/>
      <dgm:spPr/>
      <dgm:t>
        <a:bodyPr/>
        <a:lstStyle/>
        <a:p>
          <a:endParaRPr lang="en-US" b="1"/>
        </a:p>
      </dgm:t>
    </dgm:pt>
    <dgm:pt modelId="{D6A2014C-BA7B-4465-B383-DF47E41544D8}" type="parTrans" cxnId="{D2DBE0D7-58B0-41B2-A7DD-D1836890F5AE}">
      <dgm:prSet/>
      <dgm:spPr/>
      <dgm:t>
        <a:bodyPr/>
        <a:lstStyle/>
        <a:p>
          <a:endParaRPr lang="en-US" b="1"/>
        </a:p>
      </dgm:t>
    </dgm:pt>
    <dgm:pt modelId="{9CBD404C-FA69-4315-8CA8-B6EB5B241AC4}">
      <dgm:prSet phldrT="[Text]" custT="1"/>
      <dgm:spPr>
        <a:solidFill>
          <a:srgbClr val="FFC000"/>
        </a:solidFill>
        <a:ln>
          <a:solidFill>
            <a:srgbClr val="FFC000"/>
          </a:solidFill>
        </a:ln>
      </dgm:spPr>
      <dgm:t>
        <a:bodyPr anchor="ctr"/>
        <a:lstStyle/>
        <a:p>
          <a:r>
            <a:rPr lang="en-US" sz="2800" b="1" u="sng" dirty="0">
              <a:solidFill>
                <a:schemeClr val="bg1"/>
              </a:solidFill>
            </a:rPr>
            <a:t>Partner</a:t>
          </a:r>
        </a:p>
      </dgm:t>
    </dgm:pt>
    <dgm:pt modelId="{8CF50525-DDE4-4663-B926-C80738A65B93}" type="sibTrans" cxnId="{CF035637-DE4D-40B3-96E4-971BDF74995B}">
      <dgm:prSet/>
      <dgm:spPr/>
      <dgm:t>
        <a:bodyPr/>
        <a:lstStyle/>
        <a:p>
          <a:endParaRPr lang="en-US" b="1"/>
        </a:p>
      </dgm:t>
    </dgm:pt>
    <dgm:pt modelId="{340AA52B-FE60-4937-8E88-2432B0338154}" type="parTrans" cxnId="{CF035637-DE4D-40B3-96E4-971BDF74995B}">
      <dgm:prSet/>
      <dgm:spPr/>
      <dgm:t>
        <a:bodyPr/>
        <a:lstStyle/>
        <a:p>
          <a:endParaRPr lang="en-US" b="1"/>
        </a:p>
      </dgm:t>
    </dgm:pt>
    <dgm:pt modelId="{85AFFA0D-C7D7-42EE-B3AA-07F80EBD5B53}">
      <dgm:prSet phldrT="[Text]" custT="1"/>
      <dgm:spPr>
        <a:solidFill>
          <a:srgbClr val="3E8D33"/>
        </a:solidFill>
      </dgm:spPr>
      <dgm:t>
        <a:bodyPr anchor="ctr"/>
        <a:lstStyle/>
        <a:p>
          <a:r>
            <a:rPr lang="en-US" sz="2800" b="1" u="sng" dirty="0">
              <a:solidFill>
                <a:schemeClr val="bg1"/>
              </a:solidFill>
            </a:rPr>
            <a:t>People</a:t>
          </a:r>
        </a:p>
      </dgm:t>
    </dgm:pt>
    <dgm:pt modelId="{9BAD3F7F-FA99-4784-87BC-057ACACF6C8E}" type="sibTrans" cxnId="{D5047A6C-7772-41B2-A481-20B590714235}">
      <dgm:prSet/>
      <dgm:spPr/>
      <dgm:t>
        <a:bodyPr/>
        <a:lstStyle/>
        <a:p>
          <a:endParaRPr lang="en-US" b="1"/>
        </a:p>
      </dgm:t>
    </dgm:pt>
    <dgm:pt modelId="{E0B0722F-9017-44F4-9219-AC40955C5BAD}" type="parTrans" cxnId="{D5047A6C-7772-41B2-A481-20B590714235}">
      <dgm:prSet/>
      <dgm:spPr/>
      <dgm:t>
        <a:bodyPr/>
        <a:lstStyle/>
        <a:p>
          <a:endParaRPr lang="en-US" b="1"/>
        </a:p>
      </dgm:t>
    </dgm:pt>
    <dgm:pt modelId="{74C68AA6-F749-4380-B706-14CBAD047023}" type="pres">
      <dgm:prSet presAssocID="{AAFB7229-624C-45C2-B579-AB73F31EF603}" presName="theList" presStyleCnt="0">
        <dgm:presLayoutVars>
          <dgm:dir/>
          <dgm:animLvl val="lvl"/>
          <dgm:resizeHandles val="exact"/>
        </dgm:presLayoutVars>
      </dgm:prSet>
      <dgm:spPr/>
    </dgm:pt>
    <dgm:pt modelId="{D8D8500F-4B33-4CCE-90DC-C828A5176BB2}" type="pres">
      <dgm:prSet presAssocID="{85AFFA0D-C7D7-42EE-B3AA-07F80EBD5B53}" presName="compNode" presStyleCnt="0"/>
      <dgm:spPr/>
    </dgm:pt>
    <dgm:pt modelId="{38E96DE0-15B0-42AB-9377-BD0201E6FCF3}" type="pres">
      <dgm:prSet presAssocID="{85AFFA0D-C7D7-42EE-B3AA-07F80EBD5B53}" presName="aNode" presStyleLbl="bgShp" presStyleIdx="0" presStyleCnt="4" custLinFactNeighborX="-6533"/>
      <dgm:spPr/>
    </dgm:pt>
    <dgm:pt modelId="{C2B3B972-08B3-41C9-A5F5-B584358A0E44}" type="pres">
      <dgm:prSet presAssocID="{85AFFA0D-C7D7-42EE-B3AA-07F80EBD5B53}" presName="textNode" presStyleLbl="bgShp" presStyleIdx="0" presStyleCnt="4"/>
      <dgm:spPr/>
    </dgm:pt>
    <dgm:pt modelId="{DD06CD43-37C6-445A-A83A-F91075619A3E}" type="pres">
      <dgm:prSet presAssocID="{85AFFA0D-C7D7-42EE-B3AA-07F80EBD5B53}" presName="compChildNode" presStyleCnt="0"/>
      <dgm:spPr/>
    </dgm:pt>
    <dgm:pt modelId="{6791B716-C1AE-4EE8-9CBD-45465B4E863B}" type="pres">
      <dgm:prSet presAssocID="{85AFFA0D-C7D7-42EE-B3AA-07F80EBD5B53}" presName="theInnerList" presStyleCnt="0"/>
      <dgm:spPr/>
    </dgm:pt>
    <dgm:pt modelId="{4D70D34C-CBF5-4F90-81E7-343B71AB4D2A}" type="pres">
      <dgm:prSet presAssocID="{85AFFA0D-C7D7-42EE-B3AA-07F80EBD5B53}" presName="aSpace" presStyleCnt="0"/>
      <dgm:spPr/>
    </dgm:pt>
    <dgm:pt modelId="{CE9C93F3-F7EF-4087-AB2B-D95D4E9CDE61}" type="pres">
      <dgm:prSet presAssocID="{A05862F2-3266-42F7-B58F-7561A9C3A0FA}" presName="compNode" presStyleCnt="0"/>
      <dgm:spPr/>
    </dgm:pt>
    <dgm:pt modelId="{0FD1A821-93AE-4725-8AB4-692C2986CB7C}" type="pres">
      <dgm:prSet presAssocID="{A05862F2-3266-42F7-B58F-7561A9C3A0FA}" presName="aNode" presStyleLbl="bgShp" presStyleIdx="1" presStyleCnt="4"/>
      <dgm:spPr/>
    </dgm:pt>
    <dgm:pt modelId="{45419AAB-D30D-48C5-92C9-DFD00C442EB4}" type="pres">
      <dgm:prSet presAssocID="{A05862F2-3266-42F7-B58F-7561A9C3A0FA}" presName="textNode" presStyleLbl="bgShp" presStyleIdx="1" presStyleCnt="4"/>
      <dgm:spPr/>
    </dgm:pt>
    <dgm:pt modelId="{F7045784-87A2-4BA6-B848-CCD7E92AAE7C}" type="pres">
      <dgm:prSet presAssocID="{A05862F2-3266-42F7-B58F-7561A9C3A0FA}" presName="compChildNode" presStyleCnt="0"/>
      <dgm:spPr/>
    </dgm:pt>
    <dgm:pt modelId="{E2C46C52-0ECE-45FF-B51B-47A5D8CF325D}" type="pres">
      <dgm:prSet presAssocID="{A05862F2-3266-42F7-B58F-7561A9C3A0FA}" presName="theInnerList" presStyleCnt="0"/>
      <dgm:spPr/>
    </dgm:pt>
    <dgm:pt modelId="{FBFBE2D1-5FFA-4AFB-9983-B9540E8C311E}" type="pres">
      <dgm:prSet presAssocID="{A05862F2-3266-42F7-B58F-7561A9C3A0FA}" presName="aSpace" presStyleCnt="0"/>
      <dgm:spPr/>
    </dgm:pt>
    <dgm:pt modelId="{643C13A2-8BEA-4F7E-914D-0E01F68A1C8E}" type="pres">
      <dgm:prSet presAssocID="{9CBD404C-FA69-4315-8CA8-B6EB5B241AC4}" presName="compNode" presStyleCnt="0"/>
      <dgm:spPr/>
    </dgm:pt>
    <dgm:pt modelId="{52518848-CDBF-4437-9263-9E500D9ABC84}" type="pres">
      <dgm:prSet presAssocID="{9CBD404C-FA69-4315-8CA8-B6EB5B241AC4}" presName="aNode" presStyleLbl="bgShp" presStyleIdx="2" presStyleCnt="4"/>
      <dgm:spPr/>
    </dgm:pt>
    <dgm:pt modelId="{F096E541-C8C1-45FA-AD85-1CA20752DCAA}" type="pres">
      <dgm:prSet presAssocID="{9CBD404C-FA69-4315-8CA8-B6EB5B241AC4}" presName="textNode" presStyleLbl="bgShp" presStyleIdx="2" presStyleCnt="4"/>
      <dgm:spPr/>
    </dgm:pt>
    <dgm:pt modelId="{95F6E212-A9B8-4CD3-92ED-DAD527262516}" type="pres">
      <dgm:prSet presAssocID="{9CBD404C-FA69-4315-8CA8-B6EB5B241AC4}" presName="compChildNode" presStyleCnt="0"/>
      <dgm:spPr/>
    </dgm:pt>
    <dgm:pt modelId="{1529A29C-966D-47F2-97FA-F88B19B7CF6D}" type="pres">
      <dgm:prSet presAssocID="{9CBD404C-FA69-4315-8CA8-B6EB5B241AC4}" presName="theInnerList" presStyleCnt="0"/>
      <dgm:spPr/>
    </dgm:pt>
    <dgm:pt modelId="{1A4203DF-D2B6-4A49-B184-BE403E362AC7}" type="pres">
      <dgm:prSet presAssocID="{9CBD404C-FA69-4315-8CA8-B6EB5B241AC4}" presName="aSpace" presStyleCnt="0"/>
      <dgm:spPr/>
    </dgm:pt>
    <dgm:pt modelId="{53BB6636-85D8-4181-A0D6-A49CD89B695E}" type="pres">
      <dgm:prSet presAssocID="{E8E500AB-66DC-4818-9777-E181DDE50BE0}" presName="compNode" presStyleCnt="0"/>
      <dgm:spPr/>
    </dgm:pt>
    <dgm:pt modelId="{17191BF6-AF16-40D2-9B99-C65D9DD59852}" type="pres">
      <dgm:prSet presAssocID="{E8E500AB-66DC-4818-9777-E181DDE50BE0}" presName="aNode" presStyleLbl="bgShp" presStyleIdx="3" presStyleCnt="4" custLinFactNeighborY="424"/>
      <dgm:spPr/>
    </dgm:pt>
    <dgm:pt modelId="{0FAEFCCE-26C0-4A61-A449-9BA77CD8D3DD}" type="pres">
      <dgm:prSet presAssocID="{E8E500AB-66DC-4818-9777-E181DDE50BE0}" presName="textNode" presStyleLbl="bgShp" presStyleIdx="3" presStyleCnt="4"/>
      <dgm:spPr/>
    </dgm:pt>
    <dgm:pt modelId="{605FC213-605E-449C-9593-6DDDFB3E86D9}" type="pres">
      <dgm:prSet presAssocID="{E8E500AB-66DC-4818-9777-E181DDE50BE0}" presName="compChildNode" presStyleCnt="0"/>
      <dgm:spPr/>
    </dgm:pt>
    <dgm:pt modelId="{03F9D715-5B57-4C09-AB78-A8B551A6DE52}" type="pres">
      <dgm:prSet presAssocID="{E8E500AB-66DC-4818-9777-E181DDE50BE0}" presName="theInnerList" presStyleCnt="0"/>
      <dgm:spPr/>
    </dgm:pt>
  </dgm:ptLst>
  <dgm:cxnLst>
    <dgm:cxn modelId="{C1CFC923-25B9-2848-B6A7-3D25C56FE7AA}" type="presOf" srcId="{E8E500AB-66DC-4818-9777-E181DDE50BE0}" destId="{0FAEFCCE-26C0-4A61-A449-9BA77CD8D3DD}" srcOrd="1" destOrd="0" presId="urn:microsoft.com/office/officeart/2005/8/layout/lProcess2"/>
    <dgm:cxn modelId="{CF035637-DE4D-40B3-96E4-971BDF74995B}" srcId="{AAFB7229-624C-45C2-B579-AB73F31EF603}" destId="{9CBD404C-FA69-4315-8CA8-B6EB5B241AC4}" srcOrd="2" destOrd="0" parTransId="{340AA52B-FE60-4937-8E88-2432B0338154}" sibTransId="{8CF50525-DDE4-4663-B926-C80738A65B93}"/>
    <dgm:cxn modelId="{1E74DC37-7825-464D-A826-A99B7DBD6B32}" type="presOf" srcId="{9CBD404C-FA69-4315-8CA8-B6EB5B241AC4}" destId="{52518848-CDBF-4437-9263-9E500D9ABC84}" srcOrd="0" destOrd="0" presId="urn:microsoft.com/office/officeart/2005/8/layout/lProcess2"/>
    <dgm:cxn modelId="{D5047A6C-7772-41B2-A481-20B590714235}" srcId="{AAFB7229-624C-45C2-B579-AB73F31EF603}" destId="{85AFFA0D-C7D7-42EE-B3AA-07F80EBD5B53}" srcOrd="0" destOrd="0" parTransId="{E0B0722F-9017-44F4-9219-AC40955C5BAD}" sibTransId="{9BAD3F7F-FA99-4784-87BC-057ACACF6C8E}"/>
    <dgm:cxn modelId="{3914F99D-AFD1-B447-92DE-036934637E97}" type="presOf" srcId="{A05862F2-3266-42F7-B58F-7561A9C3A0FA}" destId="{45419AAB-D30D-48C5-92C9-DFD00C442EB4}" srcOrd="1" destOrd="0" presId="urn:microsoft.com/office/officeart/2005/8/layout/lProcess2"/>
    <dgm:cxn modelId="{1ED77FA4-F5E7-4248-B847-27846FAE66C5}" type="presOf" srcId="{9CBD404C-FA69-4315-8CA8-B6EB5B241AC4}" destId="{F096E541-C8C1-45FA-AD85-1CA20752DCAA}" srcOrd="1" destOrd="0" presId="urn:microsoft.com/office/officeart/2005/8/layout/lProcess2"/>
    <dgm:cxn modelId="{E1D421BE-6E3E-7D45-8BEC-E228D9600BD2}" type="presOf" srcId="{A05862F2-3266-42F7-B58F-7561A9C3A0FA}" destId="{0FD1A821-93AE-4725-8AB4-692C2986CB7C}" srcOrd="0" destOrd="0" presId="urn:microsoft.com/office/officeart/2005/8/layout/lProcess2"/>
    <dgm:cxn modelId="{E922A5C4-61AE-DA4B-A99E-59A9B820EAB5}" type="presOf" srcId="{85AFFA0D-C7D7-42EE-B3AA-07F80EBD5B53}" destId="{38E96DE0-15B0-42AB-9377-BD0201E6FCF3}" srcOrd="0" destOrd="0" presId="urn:microsoft.com/office/officeart/2005/8/layout/lProcess2"/>
    <dgm:cxn modelId="{0399C6D1-12A8-674A-A29C-FD13689A2B60}" type="presOf" srcId="{AAFB7229-624C-45C2-B579-AB73F31EF603}" destId="{74C68AA6-F749-4380-B706-14CBAD047023}" srcOrd="0" destOrd="0" presId="urn:microsoft.com/office/officeart/2005/8/layout/lProcess2"/>
    <dgm:cxn modelId="{D2DBE0D7-58B0-41B2-A7DD-D1836890F5AE}" srcId="{AAFB7229-624C-45C2-B579-AB73F31EF603}" destId="{E8E500AB-66DC-4818-9777-E181DDE50BE0}" srcOrd="3" destOrd="0" parTransId="{D6A2014C-BA7B-4465-B383-DF47E41544D8}" sibTransId="{3AB74632-02E6-4BCF-AA0E-C8EA593E1A4C}"/>
    <dgm:cxn modelId="{5A9438DA-1488-B74C-824A-B453281B7CEF}" type="presOf" srcId="{E8E500AB-66DC-4818-9777-E181DDE50BE0}" destId="{17191BF6-AF16-40D2-9B99-C65D9DD59852}" srcOrd="0" destOrd="0" presId="urn:microsoft.com/office/officeart/2005/8/layout/lProcess2"/>
    <dgm:cxn modelId="{2185F4F6-89D8-ED48-931A-8D650026D83D}" type="presOf" srcId="{85AFFA0D-C7D7-42EE-B3AA-07F80EBD5B53}" destId="{C2B3B972-08B3-41C9-A5F5-B584358A0E44}" srcOrd="1" destOrd="0" presId="urn:microsoft.com/office/officeart/2005/8/layout/lProcess2"/>
    <dgm:cxn modelId="{604E9AFA-3EC6-4E05-B70D-98A9C0E0271B}" srcId="{AAFB7229-624C-45C2-B579-AB73F31EF603}" destId="{A05862F2-3266-42F7-B58F-7561A9C3A0FA}" srcOrd="1" destOrd="0" parTransId="{11681550-99E8-4E66-8932-E1F647DF0CD5}" sibTransId="{4183B027-CE3D-4E81-BB8A-11AA82C07524}"/>
    <dgm:cxn modelId="{86317578-BC1A-9941-BD35-A22ABB6FC651}" type="presParOf" srcId="{74C68AA6-F749-4380-B706-14CBAD047023}" destId="{D8D8500F-4B33-4CCE-90DC-C828A5176BB2}" srcOrd="0" destOrd="0" presId="urn:microsoft.com/office/officeart/2005/8/layout/lProcess2"/>
    <dgm:cxn modelId="{5BA78849-770C-0040-B767-B16AA1F70405}" type="presParOf" srcId="{D8D8500F-4B33-4CCE-90DC-C828A5176BB2}" destId="{38E96DE0-15B0-42AB-9377-BD0201E6FCF3}" srcOrd="0" destOrd="0" presId="urn:microsoft.com/office/officeart/2005/8/layout/lProcess2"/>
    <dgm:cxn modelId="{7C8C5E2C-7C7C-1B43-8264-7D59D1B653AE}" type="presParOf" srcId="{D8D8500F-4B33-4CCE-90DC-C828A5176BB2}" destId="{C2B3B972-08B3-41C9-A5F5-B584358A0E44}" srcOrd="1" destOrd="0" presId="urn:microsoft.com/office/officeart/2005/8/layout/lProcess2"/>
    <dgm:cxn modelId="{B97A31BA-F672-454C-8871-BBD04644B65B}" type="presParOf" srcId="{D8D8500F-4B33-4CCE-90DC-C828A5176BB2}" destId="{DD06CD43-37C6-445A-A83A-F91075619A3E}" srcOrd="2" destOrd="0" presId="urn:microsoft.com/office/officeart/2005/8/layout/lProcess2"/>
    <dgm:cxn modelId="{58899096-D92A-B343-83F1-5B24FF2B8BF7}" type="presParOf" srcId="{DD06CD43-37C6-445A-A83A-F91075619A3E}" destId="{6791B716-C1AE-4EE8-9CBD-45465B4E863B}" srcOrd="0" destOrd="0" presId="urn:microsoft.com/office/officeart/2005/8/layout/lProcess2"/>
    <dgm:cxn modelId="{B547A3C0-0AA1-E64B-9382-71A66917C81E}" type="presParOf" srcId="{74C68AA6-F749-4380-B706-14CBAD047023}" destId="{4D70D34C-CBF5-4F90-81E7-343B71AB4D2A}" srcOrd="1" destOrd="0" presId="urn:microsoft.com/office/officeart/2005/8/layout/lProcess2"/>
    <dgm:cxn modelId="{EBE87895-F2B9-BD42-A74E-2161F5752433}" type="presParOf" srcId="{74C68AA6-F749-4380-B706-14CBAD047023}" destId="{CE9C93F3-F7EF-4087-AB2B-D95D4E9CDE61}" srcOrd="2" destOrd="0" presId="urn:microsoft.com/office/officeart/2005/8/layout/lProcess2"/>
    <dgm:cxn modelId="{0A187107-607F-D643-A711-A434FDBEB16D}" type="presParOf" srcId="{CE9C93F3-F7EF-4087-AB2B-D95D4E9CDE61}" destId="{0FD1A821-93AE-4725-8AB4-692C2986CB7C}" srcOrd="0" destOrd="0" presId="urn:microsoft.com/office/officeart/2005/8/layout/lProcess2"/>
    <dgm:cxn modelId="{0B154FA2-05C8-874F-992C-8248050C227A}" type="presParOf" srcId="{CE9C93F3-F7EF-4087-AB2B-D95D4E9CDE61}" destId="{45419AAB-D30D-48C5-92C9-DFD00C442EB4}" srcOrd="1" destOrd="0" presId="urn:microsoft.com/office/officeart/2005/8/layout/lProcess2"/>
    <dgm:cxn modelId="{9AC1E98F-E28B-C646-8459-61153BCE08A6}" type="presParOf" srcId="{CE9C93F3-F7EF-4087-AB2B-D95D4E9CDE61}" destId="{F7045784-87A2-4BA6-B848-CCD7E92AAE7C}" srcOrd="2" destOrd="0" presId="urn:microsoft.com/office/officeart/2005/8/layout/lProcess2"/>
    <dgm:cxn modelId="{0CE1FF26-F403-DB4E-AAE1-2D6B576181D2}" type="presParOf" srcId="{F7045784-87A2-4BA6-B848-CCD7E92AAE7C}" destId="{E2C46C52-0ECE-45FF-B51B-47A5D8CF325D}" srcOrd="0" destOrd="0" presId="urn:microsoft.com/office/officeart/2005/8/layout/lProcess2"/>
    <dgm:cxn modelId="{E0178729-0668-E848-B029-B2244AF3AB8A}" type="presParOf" srcId="{74C68AA6-F749-4380-B706-14CBAD047023}" destId="{FBFBE2D1-5FFA-4AFB-9983-B9540E8C311E}" srcOrd="3" destOrd="0" presId="urn:microsoft.com/office/officeart/2005/8/layout/lProcess2"/>
    <dgm:cxn modelId="{CE6425B3-F733-404D-8150-2CA115AED82B}" type="presParOf" srcId="{74C68AA6-F749-4380-B706-14CBAD047023}" destId="{643C13A2-8BEA-4F7E-914D-0E01F68A1C8E}" srcOrd="4" destOrd="0" presId="urn:microsoft.com/office/officeart/2005/8/layout/lProcess2"/>
    <dgm:cxn modelId="{B41793A8-FAD9-2546-A637-42160D4F0BBC}" type="presParOf" srcId="{643C13A2-8BEA-4F7E-914D-0E01F68A1C8E}" destId="{52518848-CDBF-4437-9263-9E500D9ABC84}" srcOrd="0" destOrd="0" presId="urn:microsoft.com/office/officeart/2005/8/layout/lProcess2"/>
    <dgm:cxn modelId="{AE619113-3F2A-1A4A-A6E9-AA7A0BA2637C}" type="presParOf" srcId="{643C13A2-8BEA-4F7E-914D-0E01F68A1C8E}" destId="{F096E541-C8C1-45FA-AD85-1CA20752DCAA}" srcOrd="1" destOrd="0" presId="urn:microsoft.com/office/officeart/2005/8/layout/lProcess2"/>
    <dgm:cxn modelId="{6F550DA4-584F-0D46-B914-FCD65331D0B9}" type="presParOf" srcId="{643C13A2-8BEA-4F7E-914D-0E01F68A1C8E}" destId="{95F6E212-A9B8-4CD3-92ED-DAD527262516}" srcOrd="2" destOrd="0" presId="urn:microsoft.com/office/officeart/2005/8/layout/lProcess2"/>
    <dgm:cxn modelId="{7F9D45F8-EDF0-1740-92F2-F14A71E5AB4B}" type="presParOf" srcId="{95F6E212-A9B8-4CD3-92ED-DAD527262516}" destId="{1529A29C-966D-47F2-97FA-F88B19B7CF6D}" srcOrd="0" destOrd="0" presId="urn:microsoft.com/office/officeart/2005/8/layout/lProcess2"/>
    <dgm:cxn modelId="{BB877699-F887-B140-A706-E7F9531E6A8D}" type="presParOf" srcId="{74C68AA6-F749-4380-B706-14CBAD047023}" destId="{1A4203DF-D2B6-4A49-B184-BE403E362AC7}" srcOrd="5" destOrd="0" presId="urn:microsoft.com/office/officeart/2005/8/layout/lProcess2"/>
    <dgm:cxn modelId="{D6F0B378-4F9F-F642-ADDE-6744AF2ED88F}" type="presParOf" srcId="{74C68AA6-F749-4380-B706-14CBAD047023}" destId="{53BB6636-85D8-4181-A0D6-A49CD89B695E}" srcOrd="6" destOrd="0" presId="urn:microsoft.com/office/officeart/2005/8/layout/lProcess2"/>
    <dgm:cxn modelId="{C140387C-9DC7-4946-AE90-E07750E581C5}" type="presParOf" srcId="{53BB6636-85D8-4181-A0D6-A49CD89B695E}" destId="{17191BF6-AF16-40D2-9B99-C65D9DD59852}" srcOrd="0" destOrd="0" presId="urn:microsoft.com/office/officeart/2005/8/layout/lProcess2"/>
    <dgm:cxn modelId="{4DDBA92F-CC09-F648-B592-0493275A894C}" type="presParOf" srcId="{53BB6636-85D8-4181-A0D6-A49CD89B695E}" destId="{0FAEFCCE-26C0-4A61-A449-9BA77CD8D3DD}" srcOrd="1" destOrd="0" presId="urn:microsoft.com/office/officeart/2005/8/layout/lProcess2"/>
    <dgm:cxn modelId="{C784D99D-7B1C-F244-A5BB-84740BA504D8}" type="presParOf" srcId="{53BB6636-85D8-4181-A0D6-A49CD89B695E}" destId="{605FC213-605E-449C-9593-6DDDFB3E86D9}" srcOrd="2" destOrd="0" presId="urn:microsoft.com/office/officeart/2005/8/layout/lProcess2"/>
    <dgm:cxn modelId="{5CCF5F56-2D18-3A40-B17A-E03231CFD35E}" type="presParOf" srcId="{605FC213-605E-449C-9593-6DDDFB3E86D9}" destId="{03F9D715-5B57-4C09-AB78-A8B551A6DE52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8E96DE0-15B0-42AB-9377-BD0201E6FCF3}">
      <dsp:nvSpPr>
        <dsp:cNvPr id="0" name=""/>
        <dsp:cNvSpPr/>
      </dsp:nvSpPr>
      <dsp:spPr>
        <a:xfrm>
          <a:off x="0" y="0"/>
          <a:ext cx="2491418" cy="2878859"/>
        </a:xfrm>
        <a:prstGeom prst="roundRect">
          <a:avLst>
            <a:gd name="adj" fmla="val 10000"/>
          </a:avLst>
        </a:prstGeom>
        <a:solidFill>
          <a:srgbClr val="3E8D33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u="sng" kern="1200" dirty="0">
              <a:solidFill>
                <a:schemeClr val="bg1"/>
              </a:solidFill>
            </a:rPr>
            <a:t>People</a:t>
          </a:r>
        </a:p>
      </dsp:txBody>
      <dsp:txXfrm>
        <a:off x="0" y="0"/>
        <a:ext cx="2491418" cy="863657"/>
      </dsp:txXfrm>
    </dsp:sp>
    <dsp:sp modelId="{0FD1A821-93AE-4725-8AB4-692C2986CB7C}">
      <dsp:nvSpPr>
        <dsp:cNvPr id="0" name=""/>
        <dsp:cNvSpPr/>
      </dsp:nvSpPr>
      <dsp:spPr>
        <a:xfrm>
          <a:off x="2680814" y="0"/>
          <a:ext cx="2491418" cy="2878859"/>
        </a:xfrm>
        <a:prstGeom prst="roundRect">
          <a:avLst>
            <a:gd name="adj" fmla="val 10000"/>
          </a:avLst>
        </a:prstGeom>
        <a:solidFill>
          <a:srgbClr val="7030A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u="sng" kern="1200" dirty="0">
              <a:solidFill>
                <a:schemeClr val="bg1"/>
              </a:solidFill>
            </a:rPr>
            <a:t>Process</a:t>
          </a:r>
        </a:p>
      </dsp:txBody>
      <dsp:txXfrm>
        <a:off x="2680814" y="0"/>
        <a:ext cx="2491418" cy="863657"/>
      </dsp:txXfrm>
    </dsp:sp>
    <dsp:sp modelId="{52518848-CDBF-4437-9263-9E500D9ABC84}">
      <dsp:nvSpPr>
        <dsp:cNvPr id="0" name=""/>
        <dsp:cNvSpPr/>
      </dsp:nvSpPr>
      <dsp:spPr>
        <a:xfrm>
          <a:off x="5359089" y="0"/>
          <a:ext cx="2491418" cy="2878859"/>
        </a:xfrm>
        <a:prstGeom prst="roundRect">
          <a:avLst>
            <a:gd name="adj" fmla="val 10000"/>
          </a:avLst>
        </a:prstGeom>
        <a:solidFill>
          <a:srgbClr val="FFC000"/>
        </a:solidFill>
        <a:ln>
          <a:solidFill>
            <a:srgbClr val="FFC00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u="sng" kern="1200" dirty="0">
              <a:solidFill>
                <a:schemeClr val="bg1"/>
              </a:solidFill>
            </a:rPr>
            <a:t>Partner</a:t>
          </a:r>
        </a:p>
      </dsp:txBody>
      <dsp:txXfrm>
        <a:off x="5359089" y="0"/>
        <a:ext cx="2491418" cy="863657"/>
      </dsp:txXfrm>
    </dsp:sp>
    <dsp:sp modelId="{17191BF6-AF16-40D2-9B99-C65D9DD59852}">
      <dsp:nvSpPr>
        <dsp:cNvPr id="0" name=""/>
        <dsp:cNvSpPr/>
      </dsp:nvSpPr>
      <dsp:spPr>
        <a:xfrm>
          <a:off x="8037364" y="0"/>
          <a:ext cx="2491418" cy="2878859"/>
        </a:xfrm>
        <a:prstGeom prst="roundRect">
          <a:avLst>
            <a:gd name="adj" fmla="val 10000"/>
          </a:avLst>
        </a:prstGeom>
        <a:solidFill>
          <a:srgbClr val="0070C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u="sng" kern="1200" dirty="0">
              <a:solidFill>
                <a:schemeClr val="bg1"/>
              </a:solidFill>
            </a:rPr>
            <a:t>Products</a:t>
          </a:r>
        </a:p>
      </dsp:txBody>
      <dsp:txXfrm>
        <a:off x="8037364" y="0"/>
        <a:ext cx="2491418" cy="8636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438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385F49-17E9-4ACC-B4EE-3A8E8FA36348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7730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438" y="887730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EFD72B-66E8-4EAD-A292-48877877D3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2508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438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92FA8B-B065-4441-AB13-0F161E06399B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68400"/>
            <a:ext cx="5607050" cy="31543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8025" y="4497388"/>
            <a:ext cx="5661025" cy="36798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7730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438" y="887730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1EC3AC-FA50-45D0-BC42-ABFDBCED03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2329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1EC3AC-FA50-45D0-BC42-ABFDBCED03D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7193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73EE412-0D18-4919-A44C-120795EE7267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2969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9700" y="768350"/>
            <a:ext cx="6819900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70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IN"/>
          </a:p>
        </p:txBody>
      </p:sp>
      <p:sp>
        <p:nvSpPr>
          <p:cNvPr id="29701" name="Slide Number Placeholder 3"/>
          <p:cNvSpPr txBox="1">
            <a:spLocks noGrp="1"/>
          </p:cNvSpPr>
          <p:nvPr/>
        </p:nvSpPr>
        <p:spPr bwMode="auto">
          <a:xfrm>
            <a:off x="4021294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9048" tIns="49524" rIns="99048" bIns="49524" anchor="b"/>
          <a:lstStyle/>
          <a:p>
            <a:pPr algn="r"/>
            <a:fld id="{F3716DA9-E70F-459A-835A-746F29FEA8D3}" type="slidenum">
              <a:rPr lang="en-US" sz="1300">
                <a:latin typeface="Calibri" pitchFamily="34" charset="0"/>
                <a:cs typeface="Arial" pitchFamily="34" charset="0"/>
              </a:rPr>
              <a:pPr algn="r"/>
              <a:t>15</a:t>
            </a:fld>
            <a:endParaRPr lang="en-US" sz="1300" dirty="0"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4309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11400" y="525463"/>
            <a:ext cx="4673600" cy="2628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8A6447-0B26-42F2-A247-52CA7C69AC6E}" type="slidenum">
              <a:rPr lang="en-US" altLang="en-US" smtClean="0"/>
              <a:pPr/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86054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11400" y="525463"/>
            <a:ext cx="4673600" cy="2628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8A6447-0B26-42F2-A247-52CA7C69AC6E}" type="slidenum">
              <a:rPr lang="en-US" altLang="en-US" smtClean="0"/>
              <a:pPr/>
              <a:t>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662534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nagement in many enterprises is still designed to support this environment</a:t>
            </a:r>
          </a:p>
          <a:p>
            <a:r>
              <a:rPr lang="en-US" dirty="0"/>
              <a:t>Or tower functions , without cross functional design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EC3AC-FA50-45D0-BC42-ABFDBCED03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78924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ilt in cloud function, ability support rapid or uneven workload growth, and built-in HA options have made cloud a popular alterna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EC3AC-FA50-45D0-BC42-ABFDBCED03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82624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ilt in cloud function, ability support rapid or uneven workload growth, and built-in HA options have made cloud a popular alterna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EC3AC-FA50-45D0-BC42-ABFDBCED03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6283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EC3AC-FA50-45D0-BC42-ABFDBCED03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64158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8A6447-0B26-42F2-A247-52CA7C69AC6E}" type="slidenum">
              <a:rPr lang="en-US" altLang="en-US" smtClean="0"/>
              <a:pPr/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694538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1EC3AC-FA50-45D0-BC42-ABFDBCED03D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602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B3CDBD-B964-4D85-84DE-58257B4E66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AE6518-86F9-4CF5-BF90-4CC69163B8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16169"/>
            <a:ext cx="10515600" cy="49111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486381-0CE4-40DE-AA96-EB414C26F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FB69-3C47-4965-8A8C-D119A44FAE12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FF3E1B-2570-4737-AE43-441103CD4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E6CECF-FC4D-4BC8-8FE3-198554DF25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8760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3523" cy="6858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7018" y="487098"/>
            <a:ext cx="4737860" cy="824592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77824" y="2705469"/>
            <a:ext cx="8385048" cy="72943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>
              <a:buNone/>
              <a:defRPr sz="4600" b="1">
                <a:solidFill>
                  <a:srgbClr val="005DA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877824" y="3683877"/>
            <a:ext cx="8385048" cy="585216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marL="0" indent="0">
              <a:buNone/>
              <a:defRPr sz="3200" b="0">
                <a:solidFill>
                  <a:srgbClr val="53565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877824" y="5375868"/>
            <a:ext cx="2878514" cy="3416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rgbClr val="A1A1A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July 1, 2017</a:t>
            </a:r>
          </a:p>
        </p:txBody>
      </p:sp>
    </p:spTree>
    <p:extLst>
      <p:ext uri="{BB962C8B-B14F-4D97-AF65-F5344CB8AC3E}">
        <p14:creationId xmlns:p14="http://schemas.microsoft.com/office/powerpoint/2010/main" val="39665747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Layout: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97536"/>
            <a:ext cx="10972800" cy="926592"/>
          </a:xfrm>
        </p:spPr>
        <p:txBody>
          <a:bodyPr>
            <a:normAutofit/>
          </a:bodyPr>
          <a:lstStyle>
            <a:lvl1pPr>
              <a:lnSpc>
                <a:spcPct val="95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09605" y="1097280"/>
            <a:ext cx="10945284" cy="4739216"/>
          </a:xfrm>
        </p:spPr>
        <p:txBody>
          <a:bodyPr/>
          <a:lstStyle>
            <a:lvl5pPr marL="798513" indent="-174625">
              <a:buFont typeface="Arial"/>
              <a:buChar char="▪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46421" y="6069013"/>
            <a:ext cx="645583" cy="609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25625D-DCFB-45F2-AA30-6BEECD51AE3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0076" y="6465231"/>
            <a:ext cx="2351848" cy="30699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 flipV="1">
            <a:off x="0" y="6403393"/>
            <a:ext cx="12192000" cy="45719"/>
          </a:xfrm>
          <a:prstGeom prst="rect">
            <a:avLst/>
          </a:prstGeom>
          <a:solidFill>
            <a:srgbClr val="CFC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A1A1A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013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F38A42-7A4D-4170-BCE3-1C556EE59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58C8A5-EC3E-496B-91B3-1B402BF382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11877"/>
            <a:ext cx="5181600" cy="488109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0DADC7-1A56-465C-B5E6-42294E4E53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11877"/>
            <a:ext cx="5181600" cy="488109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82EDB4B-CE7B-4626-B263-18606AEBC4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FB69-3C47-4965-8A8C-D119A44FAE12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1EE8C3-6CF2-43AF-B69C-B0D7FE1BC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E6CECF-FC4D-4BC8-8FE3-198554DF25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6065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ED79D-6585-4F29-9183-A6253994D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7D92FA-7F66-4EC0-9A93-A8FD0B5BB4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FB69-3C47-4965-8A8C-D119A44FAE12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0F2A90-39EF-44A7-B6EF-FB05715871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E6CECF-FC4D-4BC8-8FE3-198554DF25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658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5413D2-3D98-4C8C-A577-7C8366D1E2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FB69-3C47-4965-8A8C-D119A44FAE12}" type="datetimeFigureOut">
              <a:rPr lang="en-US" smtClean="0"/>
              <a:t>10/14/2020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34CB67-CD8A-483F-9DBF-134796C7C1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E6CECF-FC4D-4BC8-8FE3-198554DF25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8172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3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/>
          <p:cNvSpPr txBox="1">
            <a:spLocks/>
          </p:cNvSpPr>
          <p:nvPr userDrawn="1"/>
        </p:nvSpPr>
        <p:spPr>
          <a:xfrm>
            <a:off x="465363" y="5722407"/>
            <a:ext cx="11283043" cy="89276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isit www.uptimeinstitute.com for more information</a:t>
            </a:r>
          </a:p>
          <a:p>
            <a:pPr algn="ctr"/>
            <a:endParaRPr lang="en-US" sz="1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endParaRPr lang="en-US" sz="8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en-US" sz="800" dirty="0">
                <a:solidFill>
                  <a:srgbClr val="A1A1A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ptime Institute is a division of The 451 Group, a leading technology industry analyst and data company. Uptime Institute has office locations in the U.S., Mexico, Costa Rica, Brazil, U.K., Spain, U.A.E., Russia, Taiwan, Singapore, and Malaysia.</a:t>
            </a:r>
          </a:p>
          <a:p>
            <a:pPr algn="ctr">
              <a:lnSpc>
                <a:spcPct val="150000"/>
              </a:lnSpc>
            </a:pPr>
            <a:r>
              <a:rPr lang="en-US" sz="800" dirty="0">
                <a:solidFill>
                  <a:srgbClr val="A1A1A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© 2017 Uptime Institute, LLC. All rights reserved. </a:t>
            </a:r>
          </a:p>
          <a:p>
            <a:pPr algn="ctr"/>
            <a:endParaRPr lang="en-US" sz="800" dirty="0">
              <a:solidFill>
                <a:srgbClr val="A1A1A4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endParaRPr lang="en-US" sz="1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endParaRPr lang="en-US" sz="1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endParaRPr lang="en-US" sz="1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4850" y="3072040"/>
            <a:ext cx="4415208" cy="593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6297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1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28"/>
            <a:ext cx="12192765" cy="685757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9843" y="2726036"/>
            <a:ext cx="4991215" cy="4131922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13816" y="3200400"/>
            <a:ext cx="7964424" cy="56692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38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4117169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rimar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5" y="428"/>
            <a:ext cx="12192765" cy="685757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6397" y="2726037"/>
            <a:ext cx="4985120" cy="4131921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13816" y="3200400"/>
            <a:ext cx="7964424" cy="56692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38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37230080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356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5" y="428"/>
            <a:ext cx="12192765" cy="685757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6407" y="2726037"/>
            <a:ext cx="5015592" cy="4131921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13816" y="3200400"/>
            <a:ext cx="7964424" cy="56692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38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22840845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econda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8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28"/>
            <a:ext cx="12192765" cy="685757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2954" y="2726037"/>
            <a:ext cx="4979025" cy="4131921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13816" y="3200400"/>
            <a:ext cx="7964424" cy="56692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38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1987196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2ADDDE5-99EE-4F7A-82F8-D0E662124ECB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" y="0"/>
            <a:ext cx="12180580" cy="177086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54911C1-F1AE-43C4-A84C-E76FFE99017D}"/>
              </a:ext>
            </a:extLst>
          </p:cNvPr>
          <p:cNvSpPr/>
          <p:nvPr userDrawn="1"/>
        </p:nvSpPr>
        <p:spPr>
          <a:xfrm flipV="1">
            <a:off x="-3194" y="6207442"/>
            <a:ext cx="12195194" cy="45719"/>
          </a:xfrm>
          <a:prstGeom prst="rect">
            <a:avLst/>
          </a:prstGeom>
          <a:solidFill>
            <a:srgbClr val="CFC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A1A1A4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408CAB-9262-47ED-8811-63E2F5422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37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F5070E-9628-4274-B3E3-BF9C520449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12034"/>
            <a:ext cx="10515600" cy="50649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4F6745-44C4-4AB0-914B-50F785DE80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Roboto Light"/>
                <a:cs typeface="Roboto Light"/>
              </a:defRPr>
            </a:lvl1pPr>
          </a:lstStyle>
          <a:p>
            <a:fld id="{C59DFB69-3C47-4965-8A8C-D119A44FAE12}" type="datetimeFigureOut">
              <a:rPr lang="en-US" smtClean="0"/>
              <a:pPr/>
              <a:t>10/14/2020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D1993A-3EFD-4388-973A-7EC9A6656B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Roboto Light"/>
                <a:cs typeface="Roboto Light"/>
              </a:defRPr>
            </a:lvl1pPr>
          </a:lstStyle>
          <a:p>
            <a:fld id="{1AE6CECF-FC4D-4BC8-8FE3-198554DF253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B88449B-8820-475E-9ECC-377DC3BCE3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4118" y="6400800"/>
            <a:ext cx="1763886" cy="30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049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9" r:id="rId2"/>
    <p:sldLayoutId id="2147483691" r:id="rId3"/>
    <p:sldLayoutId id="2147483692" r:id="rId4"/>
    <p:sldLayoutId id="2147483679" r:id="rId5"/>
    <p:sldLayoutId id="2147483673" r:id="rId6"/>
    <p:sldLayoutId id="2147483675" r:id="rId7"/>
    <p:sldLayoutId id="2147483676" r:id="rId8"/>
    <p:sldLayoutId id="2147483677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rgbClr val="005DA6"/>
          </a:solidFill>
          <a:latin typeface="Roboto Bold"/>
          <a:ea typeface="+mj-ea"/>
          <a:cs typeface="Roboto Bold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Roboto Regular"/>
          <a:ea typeface="+mn-ea"/>
          <a:cs typeface="Roboto Regular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Lucida Grande"/>
        <a:buChar char="›"/>
        <a:defRPr sz="2400" b="0" i="0" kern="1200">
          <a:solidFill>
            <a:srgbClr val="57595B"/>
          </a:solidFill>
          <a:latin typeface="Roboto Light"/>
          <a:ea typeface="+mn-ea"/>
          <a:cs typeface="Roboto Light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Lucida Grande"/>
        <a:buChar char="▪"/>
        <a:defRPr sz="2000" b="0" i="0" kern="1200">
          <a:solidFill>
            <a:srgbClr val="57595B"/>
          </a:solidFill>
          <a:latin typeface="Roboto Light"/>
          <a:ea typeface="+mn-ea"/>
          <a:cs typeface="Roboto Light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Lucida Grande"/>
        <a:buChar char="&gt;"/>
        <a:defRPr sz="1800" b="0" i="0" kern="1200">
          <a:solidFill>
            <a:srgbClr val="57595B"/>
          </a:solidFill>
          <a:latin typeface="Roboto Light"/>
          <a:ea typeface="+mn-ea"/>
          <a:cs typeface="Roboto Light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Lucida Grande"/>
        <a:buChar char="‒"/>
        <a:defRPr sz="1800" b="0" i="0" kern="1200">
          <a:solidFill>
            <a:srgbClr val="57595B"/>
          </a:solidFill>
          <a:latin typeface="Roboto Light"/>
          <a:ea typeface="+mn-ea"/>
          <a:cs typeface="Roboto Light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1.jpg"/><Relationship Id="rId7" Type="http://schemas.openxmlformats.org/officeDocument/2006/relationships/image" Target="../media/image14.jpeg"/><Relationship Id="rId12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jpg"/><Relationship Id="rId11" Type="http://schemas.openxmlformats.org/officeDocument/2006/relationships/image" Target="../media/image18.jpeg"/><Relationship Id="rId5" Type="http://schemas.microsoft.com/office/2007/relationships/hdphoto" Target="../media/hdphoto1.wdp"/><Relationship Id="rId10" Type="http://schemas.openxmlformats.org/officeDocument/2006/relationships/image" Target="../media/image17.png"/><Relationship Id="rId4" Type="http://schemas.openxmlformats.org/officeDocument/2006/relationships/image" Target="../media/image12.png"/><Relationship Id="rId9" Type="http://schemas.openxmlformats.org/officeDocument/2006/relationships/image" Target="../media/image16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6" Type="http://schemas.openxmlformats.org/officeDocument/2006/relationships/hyperlink" Target="mailto:nksingh@uptimeinstitute.com" TargetMode="External"/><Relationship Id="rId5" Type="http://schemas.openxmlformats.org/officeDocument/2006/relationships/image" Target="../media/image4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24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tiff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jpeg"/><Relationship Id="rId9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tiff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 txBox="1">
            <a:spLocks/>
          </p:cNvSpPr>
          <p:nvPr/>
        </p:nvSpPr>
        <p:spPr>
          <a:xfrm>
            <a:off x="357410" y="6252100"/>
            <a:ext cx="1079733" cy="30501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Roboto Regular"/>
                <a:ea typeface="+mn-ea"/>
                <a:cs typeface="Roboto Regular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›"/>
              <a:defRPr sz="24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▪"/>
              <a:defRPr sz="20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&gt;"/>
              <a:defRPr sz="18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‒"/>
              <a:defRPr sz="18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latin typeface="Arial" charset="0"/>
                <a:ea typeface="Arial" charset="0"/>
                <a:cs typeface="Arial" charset="0"/>
              </a:rPr>
              <a:t>NK Singh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43763" y="6538249"/>
            <a:ext cx="4132702" cy="188656"/>
          </a:xfrm>
        </p:spPr>
        <p:txBody>
          <a:bodyPr>
            <a:noAutofit/>
          </a:bodyPr>
          <a:lstStyle/>
          <a:p>
            <a:r>
              <a:rPr lang="en-US" sz="1200" b="1" dirty="0">
                <a:latin typeface="Arial" charset="0"/>
                <a:ea typeface="Arial" charset="0"/>
                <a:cs typeface="Arial" charset="0"/>
              </a:rPr>
              <a:t>Senior Director, Business Development - Greater India</a:t>
            </a:r>
          </a:p>
        </p:txBody>
      </p:sp>
      <p:pic>
        <p:nvPicPr>
          <p:cNvPr id="29" name="Picture 28" descr="A picture containing person, indoor, table, using&#10;&#10;Description generated with very high confidence">
            <a:extLst>
              <a:ext uri="{FF2B5EF4-FFF2-40B4-BE49-F238E27FC236}">
                <a16:creationId xmlns:a16="http://schemas.microsoft.com/office/drawing/2014/main" id="{5A99AF0A-08C0-7841-9152-3F476DACF9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4544" y="299204"/>
            <a:ext cx="3639291" cy="1925964"/>
          </a:xfrm>
          <a:prstGeom prst="rect">
            <a:avLst/>
          </a:prstGeom>
        </p:spPr>
      </p:pic>
      <p:pic>
        <p:nvPicPr>
          <p:cNvPr id="30" name="Picture 10" descr="Image result for data center facilities">
            <a:extLst>
              <a:ext uri="{FF2B5EF4-FFF2-40B4-BE49-F238E27FC236}">
                <a16:creationId xmlns:a16="http://schemas.microsoft.com/office/drawing/2014/main" id="{0F729E3E-59CF-7242-A12C-302F4225A9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3036" t="-30210" r="3036" b="30210"/>
          <a:stretch/>
        </p:blipFill>
        <p:spPr bwMode="auto">
          <a:xfrm>
            <a:off x="3901325" y="1468240"/>
            <a:ext cx="7872510" cy="2730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0" descr="A picture containing computer, floor, indoor, building&#10;&#10;Description generated with high confidence">
            <a:extLst>
              <a:ext uri="{FF2B5EF4-FFF2-40B4-BE49-F238E27FC236}">
                <a16:creationId xmlns:a16="http://schemas.microsoft.com/office/drawing/2014/main" id="{8F5A1767-0128-1145-8519-C62B10D642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29" y="4279857"/>
            <a:ext cx="3821897" cy="1909223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2C5C3E28-F5E3-2644-8E19-932B809E4DE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633" y="4279857"/>
            <a:ext cx="3688645" cy="1908949"/>
          </a:xfrm>
          <a:prstGeom prst="rect">
            <a:avLst/>
          </a:prstGeom>
        </p:spPr>
      </p:pic>
      <p:pic>
        <p:nvPicPr>
          <p:cNvPr id="33" name="Picture 4" descr="Image result for technology data center people">
            <a:extLst>
              <a:ext uri="{FF2B5EF4-FFF2-40B4-BE49-F238E27FC236}">
                <a16:creationId xmlns:a16="http://schemas.microsoft.com/office/drawing/2014/main" id="{140F66FD-9D4D-D24A-990E-B7623D15AE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6634" y="308394"/>
            <a:ext cx="3695412" cy="1909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6" descr="Related image">
            <a:extLst>
              <a:ext uri="{FF2B5EF4-FFF2-40B4-BE49-F238E27FC236}">
                <a16:creationId xmlns:a16="http://schemas.microsoft.com/office/drawing/2014/main" id="{51709350-0090-374B-8E6B-5D0E67FF18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8085" y="4279857"/>
            <a:ext cx="3647673" cy="1909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E89B3BC1-4D4E-0640-A952-451DB4E4F962}"/>
              </a:ext>
            </a:extLst>
          </p:cNvPr>
          <p:cNvSpPr txBox="1"/>
          <p:nvPr/>
        </p:nvSpPr>
        <p:spPr>
          <a:xfrm>
            <a:off x="4623349" y="2203243"/>
            <a:ext cx="6514219" cy="20005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b="1" dirty="0"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Delivering Business Value</a:t>
            </a:r>
          </a:p>
          <a:p>
            <a:pPr algn="ctr"/>
            <a:r>
              <a:rPr lang="en-US" sz="3200" b="1" i="1" dirty="0">
                <a:solidFill>
                  <a:srgbClr val="7030A0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through</a:t>
            </a:r>
          </a:p>
          <a:p>
            <a:pPr algn="ctr"/>
            <a:r>
              <a:rPr lang="en-US" sz="4400" b="1" dirty="0"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Better Aligning Facility &amp; IT</a:t>
            </a:r>
            <a:endParaRPr lang="en-US" b="1" dirty="0"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9A832925-3AC5-A841-B95F-3815CBF4BD8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00" y="4913270"/>
            <a:ext cx="3224408" cy="561186"/>
          </a:xfrm>
          <a:prstGeom prst="rect">
            <a:avLst/>
          </a:prstGeom>
        </p:spPr>
      </p:pic>
      <p:pic>
        <p:nvPicPr>
          <p:cNvPr id="37" name="Picture 2" descr="Related image">
            <a:extLst>
              <a:ext uri="{FF2B5EF4-FFF2-40B4-BE49-F238E27FC236}">
                <a16:creationId xmlns:a16="http://schemas.microsoft.com/office/drawing/2014/main" id="{8E327CA2-5944-C349-8E42-4A76B4AF3C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0052" b="20052"/>
          <a:stretch/>
        </p:blipFill>
        <p:spPr bwMode="auto">
          <a:xfrm>
            <a:off x="445020" y="-164592"/>
            <a:ext cx="3809115" cy="2385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CCFCE64A-DEFA-C04B-BB9A-E8E97F4248E8}"/>
              </a:ext>
            </a:extLst>
          </p:cNvPr>
          <p:cNvSpPr/>
          <p:nvPr/>
        </p:nvSpPr>
        <p:spPr>
          <a:xfrm>
            <a:off x="8128086" y="5543550"/>
            <a:ext cx="701589" cy="6452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BF22747-4945-D74D-A57A-F0BA585034B8}"/>
              </a:ext>
            </a:extLst>
          </p:cNvPr>
          <p:cNvSpPr/>
          <p:nvPr/>
        </p:nvSpPr>
        <p:spPr>
          <a:xfrm>
            <a:off x="8829675" y="4913270"/>
            <a:ext cx="701589" cy="6452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4610F3E-1CF9-D445-A39B-A0F20A5DB49F}"/>
              </a:ext>
            </a:extLst>
          </p:cNvPr>
          <p:cNvSpPr/>
          <p:nvPr/>
        </p:nvSpPr>
        <p:spPr>
          <a:xfrm>
            <a:off x="9531264" y="4278395"/>
            <a:ext cx="701589" cy="6452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7342A60-DD10-7C41-9328-3C7118B907CC}"/>
              </a:ext>
            </a:extLst>
          </p:cNvPr>
          <p:cNvSpPr/>
          <p:nvPr/>
        </p:nvSpPr>
        <p:spPr>
          <a:xfrm>
            <a:off x="10320331" y="5542596"/>
            <a:ext cx="701589" cy="6452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2" name="Picture 4" descr="Image result for data center operations">
            <a:extLst>
              <a:ext uri="{FF2B5EF4-FFF2-40B4-BE49-F238E27FC236}">
                <a16:creationId xmlns:a16="http://schemas.microsoft.com/office/drawing/2014/main" id="{9DCF6F7B-0947-3544-BA4A-AE5D6F95BC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24" b="15235"/>
          <a:stretch/>
        </p:blipFill>
        <p:spPr bwMode="auto">
          <a:xfrm>
            <a:off x="445020" y="2302477"/>
            <a:ext cx="3809115" cy="1909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B8E28BCD-8DCE-2748-8B3A-3B655CF666E8}"/>
              </a:ext>
            </a:extLst>
          </p:cNvPr>
          <p:cNvSpPr/>
          <p:nvPr/>
        </p:nvSpPr>
        <p:spPr>
          <a:xfrm>
            <a:off x="11163502" y="4276176"/>
            <a:ext cx="317663" cy="3202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2EF77E8-6B12-3248-8117-F425CA1178B9}"/>
              </a:ext>
            </a:extLst>
          </p:cNvPr>
          <p:cNvSpPr/>
          <p:nvPr/>
        </p:nvSpPr>
        <p:spPr>
          <a:xfrm>
            <a:off x="10845838" y="4603399"/>
            <a:ext cx="317663" cy="3202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40CE5E1-D9D9-1843-A6B7-78DF830DF8EA}"/>
              </a:ext>
            </a:extLst>
          </p:cNvPr>
          <p:cNvSpPr/>
          <p:nvPr/>
        </p:nvSpPr>
        <p:spPr>
          <a:xfrm>
            <a:off x="11468690" y="1571446"/>
            <a:ext cx="317663" cy="3202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12CAAB6-3B64-D54E-8DA0-E4C5AE36A9CF}"/>
              </a:ext>
            </a:extLst>
          </p:cNvPr>
          <p:cNvSpPr/>
          <p:nvPr/>
        </p:nvSpPr>
        <p:spPr>
          <a:xfrm>
            <a:off x="11154311" y="1252712"/>
            <a:ext cx="317663" cy="3202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F2CBABE-5B79-7548-8374-5852BF97C0BF}"/>
              </a:ext>
            </a:extLst>
          </p:cNvPr>
          <p:cNvSpPr/>
          <p:nvPr/>
        </p:nvSpPr>
        <p:spPr>
          <a:xfrm>
            <a:off x="11151027" y="1904327"/>
            <a:ext cx="317663" cy="3202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045A62C-4025-3B4B-93AB-948676D6FBBE}"/>
              </a:ext>
            </a:extLst>
          </p:cNvPr>
          <p:cNvSpPr/>
          <p:nvPr/>
        </p:nvSpPr>
        <p:spPr>
          <a:xfrm>
            <a:off x="11464406" y="4912377"/>
            <a:ext cx="317663" cy="3202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0108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3719"/>
          </a:xfrm>
        </p:spPr>
        <p:txBody>
          <a:bodyPr>
            <a:normAutofit fontScale="90000"/>
          </a:bodyPr>
          <a:lstStyle/>
          <a:p>
            <a:r>
              <a:rPr lang="en-US" dirty="0"/>
              <a:t>Start with End in Min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1F76C08-E97C-BC45-886A-BBF2BDB70A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257" y="1008845"/>
            <a:ext cx="11829143" cy="526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1734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 1"/>
          <p:cNvSpPr>
            <a:spLocks noGrp="1"/>
          </p:cNvSpPr>
          <p:nvPr>
            <p:ph type="title"/>
          </p:nvPr>
        </p:nvSpPr>
        <p:spPr>
          <a:xfrm>
            <a:off x="420834" y="119925"/>
            <a:ext cx="10437865" cy="716578"/>
          </a:xfrm>
        </p:spPr>
        <p:txBody>
          <a:bodyPr>
            <a:normAutofit fontScale="90000"/>
          </a:bodyPr>
          <a:lstStyle/>
          <a:p>
            <a:r>
              <a:rPr lang="en-US" sz="3700" dirty="0"/>
              <a:t>DC Facility Management - A Comprehensive Approach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71085AC-E28E-4E44-9F18-C7A50DD40E75}"/>
              </a:ext>
            </a:extLst>
          </p:cNvPr>
          <p:cNvGrpSpPr/>
          <p:nvPr/>
        </p:nvGrpSpPr>
        <p:grpSpPr>
          <a:xfrm>
            <a:off x="1060334" y="916087"/>
            <a:ext cx="10081234" cy="4955776"/>
            <a:chOff x="2314846" y="907378"/>
            <a:chExt cx="7278292" cy="5167035"/>
          </a:xfrm>
        </p:grpSpPr>
        <p:sp>
          <p:nvSpPr>
            <p:cNvPr id="72" name="Freeform 3" descr="bpct-blend3"/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4316963" y="1995624"/>
              <a:ext cx="3021443" cy="2931874"/>
            </a:xfrm>
            <a:custGeom>
              <a:avLst/>
              <a:gdLst>
                <a:gd name="T0" fmla="*/ 2147483647 w 1124"/>
                <a:gd name="T1" fmla="*/ 2147483647 h 1106"/>
                <a:gd name="T2" fmla="*/ 2147483647 w 1124"/>
                <a:gd name="T3" fmla="*/ 2147483647 h 1106"/>
                <a:gd name="T4" fmla="*/ 2147483647 w 1124"/>
                <a:gd name="T5" fmla="*/ 2147483647 h 1106"/>
                <a:gd name="T6" fmla="*/ 2147483647 w 1124"/>
                <a:gd name="T7" fmla="*/ 2147483647 h 1106"/>
                <a:gd name="T8" fmla="*/ 2147483647 w 1124"/>
                <a:gd name="T9" fmla="*/ 2147483647 h 1106"/>
                <a:gd name="T10" fmla="*/ 2147483647 w 1124"/>
                <a:gd name="T11" fmla="*/ 2147483647 h 1106"/>
                <a:gd name="T12" fmla="*/ 2147483647 w 1124"/>
                <a:gd name="T13" fmla="*/ 2147483647 h 1106"/>
                <a:gd name="T14" fmla="*/ 2147483647 w 1124"/>
                <a:gd name="T15" fmla="*/ 2147483647 h 1106"/>
                <a:gd name="T16" fmla="*/ 2147483647 w 1124"/>
                <a:gd name="T17" fmla="*/ 2147483647 h 1106"/>
                <a:gd name="T18" fmla="*/ 2147483647 w 1124"/>
                <a:gd name="T19" fmla="*/ 2147483647 h 1106"/>
                <a:gd name="T20" fmla="*/ 2147483647 w 1124"/>
                <a:gd name="T21" fmla="*/ 2147483647 h 1106"/>
                <a:gd name="T22" fmla="*/ 2147483647 w 1124"/>
                <a:gd name="T23" fmla="*/ 2147483647 h 1106"/>
                <a:gd name="T24" fmla="*/ 2147483647 w 1124"/>
                <a:gd name="T25" fmla="*/ 2147483647 h 1106"/>
                <a:gd name="T26" fmla="*/ 2147483647 w 1124"/>
                <a:gd name="T27" fmla="*/ 2147483647 h 1106"/>
                <a:gd name="T28" fmla="*/ 2147483647 w 1124"/>
                <a:gd name="T29" fmla="*/ 2147483647 h 1106"/>
                <a:gd name="T30" fmla="*/ 2147483647 w 1124"/>
                <a:gd name="T31" fmla="*/ 2147483647 h 1106"/>
                <a:gd name="T32" fmla="*/ 2147483647 w 1124"/>
                <a:gd name="T33" fmla="*/ 2147483647 h 1106"/>
                <a:gd name="T34" fmla="*/ 2147483647 w 1124"/>
                <a:gd name="T35" fmla="*/ 2147483647 h 1106"/>
                <a:gd name="T36" fmla="*/ 2147483647 w 1124"/>
                <a:gd name="T37" fmla="*/ 2147483647 h 1106"/>
                <a:gd name="T38" fmla="*/ 2147483647 w 1124"/>
                <a:gd name="T39" fmla="*/ 2147483647 h 1106"/>
                <a:gd name="T40" fmla="*/ 2147483647 w 1124"/>
                <a:gd name="T41" fmla="*/ 2147483647 h 1106"/>
                <a:gd name="T42" fmla="*/ 2147483647 w 1124"/>
                <a:gd name="T43" fmla="*/ 2147483647 h 1106"/>
                <a:gd name="T44" fmla="*/ 2147483647 w 1124"/>
                <a:gd name="T45" fmla="*/ 2147483647 h 1106"/>
                <a:gd name="T46" fmla="*/ 2147483647 w 1124"/>
                <a:gd name="T47" fmla="*/ 2147483647 h 1106"/>
                <a:gd name="T48" fmla="*/ 2147483647 w 1124"/>
                <a:gd name="T49" fmla="*/ 2147483647 h 1106"/>
                <a:gd name="T50" fmla="*/ 2147483647 w 1124"/>
                <a:gd name="T51" fmla="*/ 2147483647 h 1106"/>
                <a:gd name="T52" fmla="*/ 2147483647 w 1124"/>
                <a:gd name="T53" fmla="*/ 2147483647 h 1106"/>
                <a:gd name="T54" fmla="*/ 2147483647 w 1124"/>
                <a:gd name="T55" fmla="*/ 2147483647 h 1106"/>
                <a:gd name="T56" fmla="*/ 2147483647 w 1124"/>
                <a:gd name="T57" fmla="*/ 2147483647 h 1106"/>
                <a:gd name="T58" fmla="*/ 2147483647 w 1124"/>
                <a:gd name="T59" fmla="*/ 2147483647 h 1106"/>
                <a:gd name="T60" fmla="*/ 2147483647 w 1124"/>
                <a:gd name="T61" fmla="*/ 2147483647 h 1106"/>
                <a:gd name="T62" fmla="*/ 2147483647 w 1124"/>
                <a:gd name="T63" fmla="*/ 2147483647 h 1106"/>
                <a:gd name="T64" fmla="*/ 2147483647 w 1124"/>
                <a:gd name="T65" fmla="*/ 2147483647 h 1106"/>
                <a:gd name="T66" fmla="*/ 2147483647 w 1124"/>
                <a:gd name="T67" fmla="*/ 2147483647 h 1106"/>
                <a:gd name="T68" fmla="*/ 2147483647 w 1124"/>
                <a:gd name="T69" fmla="*/ 2147483647 h 1106"/>
                <a:gd name="T70" fmla="*/ 2147483647 w 1124"/>
                <a:gd name="T71" fmla="*/ 2147483647 h 1106"/>
                <a:gd name="T72" fmla="*/ 2147483647 w 1124"/>
                <a:gd name="T73" fmla="*/ 2147483647 h 1106"/>
                <a:gd name="T74" fmla="*/ 2147483647 w 1124"/>
                <a:gd name="T75" fmla="*/ 2147483647 h 1106"/>
                <a:gd name="T76" fmla="*/ 2147483647 w 1124"/>
                <a:gd name="T77" fmla="*/ 2147483647 h 1106"/>
                <a:gd name="T78" fmla="*/ 2147483647 w 1124"/>
                <a:gd name="T79" fmla="*/ 2147483647 h 1106"/>
                <a:gd name="T80" fmla="*/ 2147483647 w 1124"/>
                <a:gd name="T81" fmla="*/ 2147483647 h 1106"/>
                <a:gd name="T82" fmla="*/ 2147483647 w 1124"/>
                <a:gd name="T83" fmla="*/ 2147483647 h 1106"/>
                <a:gd name="T84" fmla="*/ 2147483647 w 1124"/>
                <a:gd name="T85" fmla="*/ 2147483647 h 1106"/>
                <a:gd name="T86" fmla="*/ 2147483647 w 1124"/>
                <a:gd name="T87" fmla="*/ 2147483647 h 1106"/>
                <a:gd name="T88" fmla="*/ 2147483647 w 1124"/>
                <a:gd name="T89" fmla="*/ 2147483647 h 1106"/>
                <a:gd name="T90" fmla="*/ 2147483647 w 1124"/>
                <a:gd name="T91" fmla="*/ 2147483647 h 1106"/>
                <a:gd name="T92" fmla="*/ 2147483647 w 1124"/>
                <a:gd name="T93" fmla="*/ 2147483647 h 1106"/>
                <a:gd name="T94" fmla="*/ 2147483647 w 1124"/>
                <a:gd name="T95" fmla="*/ 2147483647 h 1106"/>
                <a:gd name="T96" fmla="*/ 2147483647 w 1124"/>
                <a:gd name="T97" fmla="*/ 2147483647 h 1106"/>
                <a:gd name="T98" fmla="*/ 2147483647 w 1124"/>
                <a:gd name="T99" fmla="*/ 2147483647 h 1106"/>
                <a:gd name="T100" fmla="*/ 2147483647 w 1124"/>
                <a:gd name="T101" fmla="*/ 2147483647 h 1106"/>
                <a:gd name="T102" fmla="*/ 2147483647 w 1124"/>
                <a:gd name="T103" fmla="*/ 2147483647 h 1106"/>
                <a:gd name="T104" fmla="*/ 2147483647 w 1124"/>
                <a:gd name="T105" fmla="*/ 2147483647 h 1106"/>
                <a:gd name="T106" fmla="*/ 2147483647 w 1124"/>
                <a:gd name="T107" fmla="*/ 2147483647 h 1106"/>
                <a:gd name="T108" fmla="*/ 2147483647 w 1124"/>
                <a:gd name="T109" fmla="*/ 2147483647 h 1106"/>
                <a:gd name="T110" fmla="*/ 2147483647 w 1124"/>
                <a:gd name="T111" fmla="*/ 2147483647 h 1106"/>
                <a:gd name="T112" fmla="*/ 2147483647 w 1124"/>
                <a:gd name="T113" fmla="*/ 2147483647 h 1106"/>
                <a:gd name="T114" fmla="*/ 2147483647 w 1124"/>
                <a:gd name="T115" fmla="*/ 2147483647 h 1106"/>
                <a:gd name="T116" fmla="*/ 2147483647 w 1124"/>
                <a:gd name="T117" fmla="*/ 2147483647 h 1106"/>
                <a:gd name="T118" fmla="*/ 2147483647 w 1124"/>
                <a:gd name="T119" fmla="*/ 2147483647 h 1106"/>
                <a:gd name="T120" fmla="*/ 2147483647 w 1124"/>
                <a:gd name="T121" fmla="*/ 2147483647 h 1106"/>
                <a:gd name="T122" fmla="*/ 2147483647 w 1124"/>
                <a:gd name="T123" fmla="*/ 2147483647 h 1106"/>
                <a:gd name="T124" fmla="*/ 2147483647 w 1124"/>
                <a:gd name="T125" fmla="*/ 2147483647 h 110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24"/>
                <a:gd name="T190" fmla="*/ 0 h 1106"/>
                <a:gd name="T191" fmla="*/ 1124 w 1124"/>
                <a:gd name="T192" fmla="*/ 1106 h 110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24" h="1106">
                  <a:moveTo>
                    <a:pt x="245" y="995"/>
                  </a:moveTo>
                  <a:cubicBezTo>
                    <a:pt x="244" y="994"/>
                    <a:pt x="243" y="993"/>
                    <a:pt x="242" y="991"/>
                  </a:cubicBezTo>
                  <a:cubicBezTo>
                    <a:pt x="239" y="989"/>
                    <a:pt x="234" y="985"/>
                    <a:pt x="233" y="986"/>
                  </a:cubicBezTo>
                  <a:cubicBezTo>
                    <a:pt x="231" y="987"/>
                    <a:pt x="243" y="996"/>
                    <a:pt x="245" y="996"/>
                  </a:cubicBezTo>
                  <a:cubicBezTo>
                    <a:pt x="245" y="996"/>
                    <a:pt x="246" y="996"/>
                    <a:pt x="245" y="995"/>
                  </a:cubicBezTo>
                  <a:close/>
                  <a:moveTo>
                    <a:pt x="113" y="859"/>
                  </a:moveTo>
                  <a:cubicBezTo>
                    <a:pt x="112" y="860"/>
                    <a:pt x="115" y="865"/>
                    <a:pt x="116" y="866"/>
                  </a:cubicBezTo>
                  <a:cubicBezTo>
                    <a:pt x="119" y="871"/>
                    <a:pt x="121" y="873"/>
                    <a:pt x="122" y="873"/>
                  </a:cubicBezTo>
                  <a:cubicBezTo>
                    <a:pt x="123" y="873"/>
                    <a:pt x="122" y="870"/>
                    <a:pt x="120" y="867"/>
                  </a:cubicBezTo>
                  <a:cubicBezTo>
                    <a:pt x="118" y="864"/>
                    <a:pt x="114" y="859"/>
                    <a:pt x="113" y="859"/>
                  </a:cubicBezTo>
                  <a:close/>
                  <a:moveTo>
                    <a:pt x="124" y="877"/>
                  </a:moveTo>
                  <a:cubicBezTo>
                    <a:pt x="123" y="878"/>
                    <a:pt x="126" y="882"/>
                    <a:pt x="127" y="884"/>
                  </a:cubicBezTo>
                  <a:cubicBezTo>
                    <a:pt x="131" y="889"/>
                    <a:pt x="134" y="890"/>
                    <a:pt x="134" y="890"/>
                  </a:cubicBezTo>
                  <a:cubicBezTo>
                    <a:pt x="135" y="890"/>
                    <a:pt x="134" y="888"/>
                    <a:pt x="132" y="884"/>
                  </a:cubicBezTo>
                  <a:cubicBezTo>
                    <a:pt x="130" y="881"/>
                    <a:pt x="126" y="877"/>
                    <a:pt x="124" y="877"/>
                  </a:cubicBezTo>
                  <a:close/>
                  <a:moveTo>
                    <a:pt x="139" y="884"/>
                  </a:moveTo>
                  <a:cubicBezTo>
                    <a:pt x="136" y="881"/>
                    <a:pt x="133" y="877"/>
                    <a:pt x="131" y="877"/>
                  </a:cubicBezTo>
                  <a:cubicBezTo>
                    <a:pt x="129" y="878"/>
                    <a:pt x="138" y="890"/>
                    <a:pt x="140" y="890"/>
                  </a:cubicBezTo>
                  <a:cubicBezTo>
                    <a:pt x="142" y="891"/>
                    <a:pt x="141" y="888"/>
                    <a:pt x="139" y="885"/>
                  </a:cubicBezTo>
                  <a:cubicBezTo>
                    <a:pt x="139" y="885"/>
                    <a:pt x="139" y="885"/>
                    <a:pt x="139" y="884"/>
                  </a:cubicBezTo>
                  <a:close/>
                  <a:moveTo>
                    <a:pt x="196" y="923"/>
                  </a:moveTo>
                  <a:cubicBezTo>
                    <a:pt x="198" y="924"/>
                    <a:pt x="198" y="923"/>
                    <a:pt x="198" y="921"/>
                  </a:cubicBezTo>
                  <a:cubicBezTo>
                    <a:pt x="197" y="920"/>
                    <a:pt x="197" y="919"/>
                    <a:pt x="196" y="918"/>
                  </a:cubicBezTo>
                  <a:cubicBezTo>
                    <a:pt x="194" y="915"/>
                    <a:pt x="189" y="910"/>
                    <a:pt x="187" y="911"/>
                  </a:cubicBezTo>
                  <a:cubicBezTo>
                    <a:pt x="184" y="912"/>
                    <a:pt x="191" y="921"/>
                    <a:pt x="196" y="923"/>
                  </a:cubicBezTo>
                  <a:close/>
                  <a:moveTo>
                    <a:pt x="86" y="822"/>
                  </a:moveTo>
                  <a:cubicBezTo>
                    <a:pt x="84" y="824"/>
                    <a:pt x="92" y="837"/>
                    <a:pt x="94" y="837"/>
                  </a:cubicBezTo>
                  <a:cubicBezTo>
                    <a:pt x="95" y="837"/>
                    <a:pt x="94" y="834"/>
                    <a:pt x="92" y="831"/>
                  </a:cubicBezTo>
                  <a:cubicBezTo>
                    <a:pt x="90" y="827"/>
                    <a:pt x="87" y="822"/>
                    <a:pt x="86" y="822"/>
                  </a:cubicBezTo>
                  <a:close/>
                  <a:moveTo>
                    <a:pt x="96" y="841"/>
                  </a:moveTo>
                  <a:cubicBezTo>
                    <a:pt x="94" y="843"/>
                    <a:pt x="103" y="855"/>
                    <a:pt x="105" y="855"/>
                  </a:cubicBezTo>
                  <a:cubicBezTo>
                    <a:pt x="106" y="855"/>
                    <a:pt x="105" y="853"/>
                    <a:pt x="103" y="849"/>
                  </a:cubicBezTo>
                  <a:cubicBezTo>
                    <a:pt x="101" y="846"/>
                    <a:pt x="97" y="841"/>
                    <a:pt x="96" y="841"/>
                  </a:cubicBezTo>
                  <a:close/>
                  <a:moveTo>
                    <a:pt x="151" y="901"/>
                  </a:moveTo>
                  <a:cubicBezTo>
                    <a:pt x="149" y="898"/>
                    <a:pt x="145" y="894"/>
                    <a:pt x="143" y="894"/>
                  </a:cubicBezTo>
                  <a:cubicBezTo>
                    <a:pt x="141" y="895"/>
                    <a:pt x="150" y="907"/>
                    <a:pt x="153" y="907"/>
                  </a:cubicBezTo>
                  <a:cubicBezTo>
                    <a:pt x="154" y="908"/>
                    <a:pt x="153" y="905"/>
                    <a:pt x="152" y="903"/>
                  </a:cubicBezTo>
                  <a:cubicBezTo>
                    <a:pt x="152" y="902"/>
                    <a:pt x="151" y="902"/>
                    <a:pt x="151" y="901"/>
                  </a:cubicBezTo>
                  <a:close/>
                  <a:moveTo>
                    <a:pt x="198" y="949"/>
                  </a:moveTo>
                  <a:cubicBezTo>
                    <a:pt x="195" y="946"/>
                    <a:pt x="191" y="942"/>
                    <a:pt x="189" y="942"/>
                  </a:cubicBezTo>
                  <a:cubicBezTo>
                    <a:pt x="187" y="944"/>
                    <a:pt x="197" y="954"/>
                    <a:pt x="200" y="954"/>
                  </a:cubicBezTo>
                  <a:cubicBezTo>
                    <a:pt x="201" y="954"/>
                    <a:pt x="201" y="953"/>
                    <a:pt x="200" y="952"/>
                  </a:cubicBezTo>
                  <a:cubicBezTo>
                    <a:pt x="199" y="951"/>
                    <a:pt x="198" y="950"/>
                    <a:pt x="198" y="949"/>
                  </a:cubicBezTo>
                  <a:close/>
                  <a:moveTo>
                    <a:pt x="212" y="964"/>
                  </a:moveTo>
                  <a:cubicBezTo>
                    <a:pt x="209" y="961"/>
                    <a:pt x="205" y="957"/>
                    <a:pt x="203" y="957"/>
                  </a:cubicBezTo>
                  <a:cubicBezTo>
                    <a:pt x="201" y="959"/>
                    <a:pt x="212" y="968"/>
                    <a:pt x="214" y="969"/>
                  </a:cubicBezTo>
                  <a:cubicBezTo>
                    <a:pt x="216" y="969"/>
                    <a:pt x="215" y="967"/>
                    <a:pt x="214" y="967"/>
                  </a:cubicBezTo>
                  <a:cubicBezTo>
                    <a:pt x="214" y="966"/>
                    <a:pt x="213" y="965"/>
                    <a:pt x="212" y="964"/>
                  </a:cubicBezTo>
                  <a:close/>
                  <a:moveTo>
                    <a:pt x="226" y="978"/>
                  </a:moveTo>
                  <a:cubicBezTo>
                    <a:pt x="224" y="975"/>
                    <a:pt x="219" y="972"/>
                    <a:pt x="218" y="972"/>
                  </a:cubicBezTo>
                  <a:cubicBezTo>
                    <a:pt x="216" y="973"/>
                    <a:pt x="227" y="982"/>
                    <a:pt x="229" y="983"/>
                  </a:cubicBezTo>
                  <a:cubicBezTo>
                    <a:pt x="230" y="983"/>
                    <a:pt x="230" y="982"/>
                    <a:pt x="229" y="981"/>
                  </a:cubicBezTo>
                  <a:cubicBezTo>
                    <a:pt x="229" y="981"/>
                    <a:pt x="228" y="980"/>
                    <a:pt x="226" y="978"/>
                  </a:cubicBezTo>
                  <a:close/>
                  <a:moveTo>
                    <a:pt x="193" y="937"/>
                  </a:moveTo>
                  <a:cubicBezTo>
                    <a:pt x="193" y="936"/>
                    <a:pt x="192" y="935"/>
                    <a:pt x="191" y="934"/>
                  </a:cubicBezTo>
                  <a:cubicBezTo>
                    <a:pt x="189" y="931"/>
                    <a:pt x="185" y="927"/>
                    <a:pt x="183" y="927"/>
                  </a:cubicBezTo>
                  <a:cubicBezTo>
                    <a:pt x="180" y="928"/>
                    <a:pt x="189" y="938"/>
                    <a:pt x="193" y="939"/>
                  </a:cubicBezTo>
                  <a:cubicBezTo>
                    <a:pt x="194" y="939"/>
                    <a:pt x="194" y="939"/>
                    <a:pt x="193" y="937"/>
                  </a:cubicBezTo>
                  <a:close/>
                  <a:moveTo>
                    <a:pt x="200" y="939"/>
                  </a:moveTo>
                  <a:cubicBezTo>
                    <a:pt x="202" y="940"/>
                    <a:pt x="202" y="939"/>
                    <a:pt x="202" y="937"/>
                  </a:cubicBezTo>
                  <a:cubicBezTo>
                    <a:pt x="201" y="937"/>
                    <a:pt x="201" y="936"/>
                    <a:pt x="199" y="934"/>
                  </a:cubicBezTo>
                  <a:cubicBezTo>
                    <a:pt x="197" y="931"/>
                    <a:pt x="193" y="927"/>
                    <a:pt x="191" y="927"/>
                  </a:cubicBezTo>
                  <a:cubicBezTo>
                    <a:pt x="188" y="928"/>
                    <a:pt x="196" y="937"/>
                    <a:pt x="200" y="939"/>
                  </a:cubicBezTo>
                  <a:close/>
                  <a:moveTo>
                    <a:pt x="158" y="901"/>
                  </a:moveTo>
                  <a:cubicBezTo>
                    <a:pt x="156" y="898"/>
                    <a:pt x="152" y="894"/>
                    <a:pt x="150" y="894"/>
                  </a:cubicBezTo>
                  <a:cubicBezTo>
                    <a:pt x="147" y="895"/>
                    <a:pt x="157" y="907"/>
                    <a:pt x="160" y="907"/>
                  </a:cubicBezTo>
                  <a:cubicBezTo>
                    <a:pt x="161" y="907"/>
                    <a:pt x="161" y="905"/>
                    <a:pt x="159" y="902"/>
                  </a:cubicBezTo>
                  <a:cubicBezTo>
                    <a:pt x="158" y="902"/>
                    <a:pt x="158" y="902"/>
                    <a:pt x="158" y="901"/>
                  </a:cubicBezTo>
                  <a:close/>
                  <a:moveTo>
                    <a:pt x="171" y="918"/>
                  </a:moveTo>
                  <a:cubicBezTo>
                    <a:pt x="168" y="915"/>
                    <a:pt x="164" y="910"/>
                    <a:pt x="162" y="911"/>
                  </a:cubicBezTo>
                  <a:cubicBezTo>
                    <a:pt x="160" y="912"/>
                    <a:pt x="170" y="923"/>
                    <a:pt x="173" y="923"/>
                  </a:cubicBezTo>
                  <a:cubicBezTo>
                    <a:pt x="174" y="924"/>
                    <a:pt x="174" y="922"/>
                    <a:pt x="172" y="920"/>
                  </a:cubicBezTo>
                  <a:cubicBezTo>
                    <a:pt x="172" y="919"/>
                    <a:pt x="171" y="918"/>
                    <a:pt x="171" y="918"/>
                  </a:cubicBezTo>
                  <a:close/>
                  <a:moveTo>
                    <a:pt x="184" y="934"/>
                  </a:moveTo>
                  <a:cubicBezTo>
                    <a:pt x="181" y="931"/>
                    <a:pt x="177" y="927"/>
                    <a:pt x="175" y="927"/>
                  </a:cubicBezTo>
                  <a:cubicBezTo>
                    <a:pt x="173" y="928"/>
                    <a:pt x="183" y="939"/>
                    <a:pt x="186" y="939"/>
                  </a:cubicBezTo>
                  <a:cubicBezTo>
                    <a:pt x="187" y="939"/>
                    <a:pt x="187" y="938"/>
                    <a:pt x="186" y="936"/>
                  </a:cubicBezTo>
                  <a:cubicBezTo>
                    <a:pt x="185" y="935"/>
                    <a:pt x="185" y="935"/>
                    <a:pt x="184" y="934"/>
                  </a:cubicBezTo>
                  <a:close/>
                  <a:moveTo>
                    <a:pt x="107" y="859"/>
                  </a:moveTo>
                  <a:cubicBezTo>
                    <a:pt x="105" y="861"/>
                    <a:pt x="115" y="873"/>
                    <a:pt x="117" y="873"/>
                  </a:cubicBezTo>
                  <a:cubicBezTo>
                    <a:pt x="118" y="873"/>
                    <a:pt x="117" y="870"/>
                    <a:pt x="114" y="867"/>
                  </a:cubicBezTo>
                  <a:cubicBezTo>
                    <a:pt x="112" y="864"/>
                    <a:pt x="109" y="859"/>
                    <a:pt x="107" y="859"/>
                  </a:cubicBezTo>
                  <a:close/>
                  <a:moveTo>
                    <a:pt x="850" y="690"/>
                  </a:moveTo>
                  <a:cubicBezTo>
                    <a:pt x="851" y="686"/>
                    <a:pt x="850" y="681"/>
                    <a:pt x="844" y="681"/>
                  </a:cubicBezTo>
                  <a:cubicBezTo>
                    <a:pt x="836" y="682"/>
                    <a:pt x="834" y="693"/>
                    <a:pt x="839" y="697"/>
                  </a:cubicBezTo>
                  <a:cubicBezTo>
                    <a:pt x="843" y="700"/>
                    <a:pt x="849" y="696"/>
                    <a:pt x="850" y="690"/>
                  </a:cubicBezTo>
                  <a:close/>
                  <a:moveTo>
                    <a:pt x="840" y="753"/>
                  </a:moveTo>
                  <a:cubicBezTo>
                    <a:pt x="841" y="749"/>
                    <a:pt x="840" y="743"/>
                    <a:pt x="834" y="744"/>
                  </a:cubicBezTo>
                  <a:cubicBezTo>
                    <a:pt x="827" y="745"/>
                    <a:pt x="824" y="755"/>
                    <a:pt x="829" y="759"/>
                  </a:cubicBezTo>
                  <a:cubicBezTo>
                    <a:pt x="832" y="762"/>
                    <a:pt x="838" y="758"/>
                    <a:pt x="840" y="753"/>
                  </a:cubicBezTo>
                  <a:close/>
                  <a:moveTo>
                    <a:pt x="863" y="732"/>
                  </a:moveTo>
                  <a:cubicBezTo>
                    <a:pt x="864" y="728"/>
                    <a:pt x="863" y="723"/>
                    <a:pt x="857" y="723"/>
                  </a:cubicBezTo>
                  <a:cubicBezTo>
                    <a:pt x="850" y="724"/>
                    <a:pt x="848" y="735"/>
                    <a:pt x="852" y="739"/>
                  </a:cubicBezTo>
                  <a:cubicBezTo>
                    <a:pt x="856" y="741"/>
                    <a:pt x="862" y="738"/>
                    <a:pt x="863" y="732"/>
                  </a:cubicBezTo>
                  <a:close/>
                  <a:moveTo>
                    <a:pt x="823" y="681"/>
                  </a:moveTo>
                  <a:cubicBezTo>
                    <a:pt x="815" y="682"/>
                    <a:pt x="813" y="693"/>
                    <a:pt x="819" y="697"/>
                  </a:cubicBezTo>
                  <a:cubicBezTo>
                    <a:pt x="823" y="700"/>
                    <a:pt x="829" y="696"/>
                    <a:pt x="830" y="690"/>
                  </a:cubicBezTo>
                  <a:cubicBezTo>
                    <a:pt x="831" y="686"/>
                    <a:pt x="829" y="681"/>
                    <a:pt x="823" y="681"/>
                  </a:cubicBezTo>
                  <a:close/>
                  <a:moveTo>
                    <a:pt x="827" y="637"/>
                  </a:moveTo>
                  <a:cubicBezTo>
                    <a:pt x="819" y="639"/>
                    <a:pt x="818" y="650"/>
                    <a:pt x="823" y="654"/>
                  </a:cubicBezTo>
                  <a:cubicBezTo>
                    <a:pt x="828" y="657"/>
                    <a:pt x="834" y="653"/>
                    <a:pt x="835" y="647"/>
                  </a:cubicBezTo>
                  <a:cubicBezTo>
                    <a:pt x="835" y="643"/>
                    <a:pt x="833" y="637"/>
                    <a:pt x="827" y="637"/>
                  </a:cubicBezTo>
                  <a:close/>
                  <a:moveTo>
                    <a:pt x="867" y="659"/>
                  </a:moveTo>
                  <a:cubicBezTo>
                    <a:pt x="859" y="661"/>
                    <a:pt x="857" y="672"/>
                    <a:pt x="862" y="675"/>
                  </a:cubicBezTo>
                  <a:cubicBezTo>
                    <a:pt x="866" y="678"/>
                    <a:pt x="872" y="675"/>
                    <a:pt x="873" y="669"/>
                  </a:cubicBezTo>
                  <a:cubicBezTo>
                    <a:pt x="874" y="664"/>
                    <a:pt x="872" y="659"/>
                    <a:pt x="867" y="659"/>
                  </a:cubicBezTo>
                  <a:close/>
                  <a:moveTo>
                    <a:pt x="870" y="690"/>
                  </a:moveTo>
                  <a:cubicBezTo>
                    <a:pt x="871" y="686"/>
                    <a:pt x="870" y="681"/>
                    <a:pt x="864" y="681"/>
                  </a:cubicBezTo>
                  <a:cubicBezTo>
                    <a:pt x="856" y="682"/>
                    <a:pt x="854" y="693"/>
                    <a:pt x="859" y="697"/>
                  </a:cubicBezTo>
                  <a:cubicBezTo>
                    <a:pt x="863" y="700"/>
                    <a:pt x="869" y="696"/>
                    <a:pt x="870" y="690"/>
                  </a:cubicBezTo>
                  <a:close/>
                  <a:moveTo>
                    <a:pt x="867" y="711"/>
                  </a:moveTo>
                  <a:cubicBezTo>
                    <a:pt x="868" y="707"/>
                    <a:pt x="866" y="702"/>
                    <a:pt x="861" y="702"/>
                  </a:cubicBezTo>
                  <a:cubicBezTo>
                    <a:pt x="854" y="704"/>
                    <a:pt x="851" y="714"/>
                    <a:pt x="856" y="718"/>
                  </a:cubicBezTo>
                  <a:cubicBezTo>
                    <a:pt x="860" y="721"/>
                    <a:pt x="865" y="717"/>
                    <a:pt x="867" y="711"/>
                  </a:cubicBezTo>
                  <a:close/>
                  <a:moveTo>
                    <a:pt x="221" y="969"/>
                  </a:moveTo>
                  <a:cubicBezTo>
                    <a:pt x="222" y="969"/>
                    <a:pt x="222" y="969"/>
                    <a:pt x="221" y="968"/>
                  </a:cubicBezTo>
                  <a:cubicBezTo>
                    <a:pt x="221" y="967"/>
                    <a:pt x="220" y="965"/>
                    <a:pt x="219" y="964"/>
                  </a:cubicBezTo>
                  <a:cubicBezTo>
                    <a:pt x="216" y="961"/>
                    <a:pt x="212" y="957"/>
                    <a:pt x="210" y="957"/>
                  </a:cubicBezTo>
                  <a:cubicBezTo>
                    <a:pt x="208" y="959"/>
                    <a:pt x="217" y="968"/>
                    <a:pt x="221" y="969"/>
                  </a:cubicBezTo>
                  <a:close/>
                  <a:moveTo>
                    <a:pt x="229" y="967"/>
                  </a:moveTo>
                  <a:cubicBezTo>
                    <a:pt x="228" y="967"/>
                    <a:pt x="228" y="966"/>
                    <a:pt x="226" y="964"/>
                  </a:cubicBezTo>
                  <a:cubicBezTo>
                    <a:pt x="224" y="961"/>
                    <a:pt x="219" y="957"/>
                    <a:pt x="217" y="957"/>
                  </a:cubicBezTo>
                  <a:cubicBezTo>
                    <a:pt x="215" y="959"/>
                    <a:pt x="224" y="968"/>
                    <a:pt x="228" y="969"/>
                  </a:cubicBezTo>
                  <a:cubicBezTo>
                    <a:pt x="229" y="969"/>
                    <a:pt x="229" y="969"/>
                    <a:pt x="229" y="967"/>
                  </a:cubicBezTo>
                  <a:close/>
                  <a:moveTo>
                    <a:pt x="835" y="773"/>
                  </a:moveTo>
                  <a:cubicBezTo>
                    <a:pt x="837" y="769"/>
                    <a:pt x="835" y="764"/>
                    <a:pt x="830" y="764"/>
                  </a:cubicBezTo>
                  <a:cubicBezTo>
                    <a:pt x="823" y="765"/>
                    <a:pt x="820" y="775"/>
                    <a:pt x="824" y="779"/>
                  </a:cubicBezTo>
                  <a:cubicBezTo>
                    <a:pt x="828" y="782"/>
                    <a:pt x="834" y="778"/>
                    <a:pt x="835" y="773"/>
                  </a:cubicBezTo>
                  <a:close/>
                  <a:moveTo>
                    <a:pt x="215" y="952"/>
                  </a:moveTo>
                  <a:cubicBezTo>
                    <a:pt x="214" y="952"/>
                    <a:pt x="214" y="950"/>
                    <a:pt x="213" y="949"/>
                  </a:cubicBezTo>
                  <a:cubicBezTo>
                    <a:pt x="210" y="946"/>
                    <a:pt x="206" y="942"/>
                    <a:pt x="204" y="942"/>
                  </a:cubicBezTo>
                  <a:cubicBezTo>
                    <a:pt x="201" y="944"/>
                    <a:pt x="210" y="953"/>
                    <a:pt x="214" y="954"/>
                  </a:cubicBezTo>
                  <a:cubicBezTo>
                    <a:pt x="215" y="955"/>
                    <a:pt x="216" y="954"/>
                    <a:pt x="215" y="952"/>
                  </a:cubicBezTo>
                  <a:close/>
                  <a:moveTo>
                    <a:pt x="235" y="983"/>
                  </a:moveTo>
                  <a:cubicBezTo>
                    <a:pt x="236" y="983"/>
                    <a:pt x="237" y="983"/>
                    <a:pt x="236" y="982"/>
                  </a:cubicBezTo>
                  <a:cubicBezTo>
                    <a:pt x="236" y="981"/>
                    <a:pt x="234" y="979"/>
                    <a:pt x="233" y="978"/>
                  </a:cubicBezTo>
                  <a:cubicBezTo>
                    <a:pt x="230" y="975"/>
                    <a:pt x="226" y="972"/>
                    <a:pt x="224" y="972"/>
                  </a:cubicBezTo>
                  <a:cubicBezTo>
                    <a:pt x="222" y="973"/>
                    <a:pt x="232" y="982"/>
                    <a:pt x="235" y="983"/>
                  </a:cubicBezTo>
                  <a:close/>
                  <a:moveTo>
                    <a:pt x="206" y="954"/>
                  </a:moveTo>
                  <a:cubicBezTo>
                    <a:pt x="208" y="955"/>
                    <a:pt x="208" y="954"/>
                    <a:pt x="207" y="953"/>
                  </a:cubicBezTo>
                  <a:cubicBezTo>
                    <a:pt x="207" y="952"/>
                    <a:pt x="206" y="951"/>
                    <a:pt x="205" y="949"/>
                  </a:cubicBezTo>
                  <a:cubicBezTo>
                    <a:pt x="202" y="946"/>
                    <a:pt x="198" y="942"/>
                    <a:pt x="196" y="942"/>
                  </a:cubicBezTo>
                  <a:cubicBezTo>
                    <a:pt x="194" y="944"/>
                    <a:pt x="203" y="953"/>
                    <a:pt x="206" y="954"/>
                  </a:cubicBezTo>
                  <a:close/>
                  <a:moveTo>
                    <a:pt x="243" y="981"/>
                  </a:moveTo>
                  <a:cubicBezTo>
                    <a:pt x="243" y="981"/>
                    <a:pt x="242" y="980"/>
                    <a:pt x="240" y="978"/>
                  </a:cubicBezTo>
                  <a:cubicBezTo>
                    <a:pt x="238" y="975"/>
                    <a:pt x="233" y="972"/>
                    <a:pt x="231" y="972"/>
                  </a:cubicBezTo>
                  <a:cubicBezTo>
                    <a:pt x="229" y="973"/>
                    <a:pt x="239" y="982"/>
                    <a:pt x="242" y="983"/>
                  </a:cubicBezTo>
                  <a:cubicBezTo>
                    <a:pt x="243" y="983"/>
                    <a:pt x="244" y="982"/>
                    <a:pt x="243" y="981"/>
                  </a:cubicBezTo>
                  <a:close/>
                  <a:moveTo>
                    <a:pt x="261" y="1009"/>
                  </a:moveTo>
                  <a:cubicBezTo>
                    <a:pt x="262" y="1009"/>
                    <a:pt x="261" y="1008"/>
                    <a:pt x="261" y="1008"/>
                  </a:cubicBezTo>
                  <a:cubicBezTo>
                    <a:pt x="261" y="1007"/>
                    <a:pt x="259" y="1006"/>
                    <a:pt x="257" y="1004"/>
                  </a:cubicBezTo>
                  <a:cubicBezTo>
                    <a:pt x="254" y="1002"/>
                    <a:pt x="250" y="999"/>
                    <a:pt x="248" y="999"/>
                  </a:cubicBezTo>
                  <a:cubicBezTo>
                    <a:pt x="247" y="1000"/>
                    <a:pt x="259" y="1008"/>
                    <a:pt x="261" y="1009"/>
                  </a:cubicBezTo>
                  <a:close/>
                  <a:moveTo>
                    <a:pt x="251" y="996"/>
                  </a:moveTo>
                  <a:cubicBezTo>
                    <a:pt x="252" y="996"/>
                    <a:pt x="252" y="996"/>
                    <a:pt x="251" y="995"/>
                  </a:cubicBezTo>
                  <a:cubicBezTo>
                    <a:pt x="251" y="994"/>
                    <a:pt x="250" y="993"/>
                    <a:pt x="248" y="991"/>
                  </a:cubicBezTo>
                  <a:cubicBezTo>
                    <a:pt x="245" y="989"/>
                    <a:pt x="240" y="985"/>
                    <a:pt x="239" y="986"/>
                  </a:cubicBezTo>
                  <a:cubicBezTo>
                    <a:pt x="237" y="987"/>
                    <a:pt x="248" y="996"/>
                    <a:pt x="251" y="996"/>
                  </a:cubicBezTo>
                  <a:close/>
                  <a:moveTo>
                    <a:pt x="106" y="837"/>
                  </a:moveTo>
                  <a:cubicBezTo>
                    <a:pt x="108" y="838"/>
                    <a:pt x="108" y="835"/>
                    <a:pt x="106" y="831"/>
                  </a:cubicBezTo>
                  <a:cubicBezTo>
                    <a:pt x="104" y="827"/>
                    <a:pt x="100" y="822"/>
                    <a:pt x="98" y="822"/>
                  </a:cubicBezTo>
                  <a:cubicBezTo>
                    <a:pt x="96" y="824"/>
                    <a:pt x="104" y="836"/>
                    <a:pt x="106" y="837"/>
                  </a:cubicBezTo>
                  <a:close/>
                  <a:moveTo>
                    <a:pt x="117" y="855"/>
                  </a:moveTo>
                  <a:cubicBezTo>
                    <a:pt x="119" y="856"/>
                    <a:pt x="118" y="853"/>
                    <a:pt x="116" y="849"/>
                  </a:cubicBezTo>
                  <a:cubicBezTo>
                    <a:pt x="114" y="846"/>
                    <a:pt x="110" y="841"/>
                    <a:pt x="109" y="841"/>
                  </a:cubicBezTo>
                  <a:cubicBezTo>
                    <a:pt x="106" y="843"/>
                    <a:pt x="114" y="855"/>
                    <a:pt x="117" y="855"/>
                  </a:cubicBezTo>
                  <a:close/>
                  <a:moveTo>
                    <a:pt x="128" y="873"/>
                  </a:moveTo>
                  <a:cubicBezTo>
                    <a:pt x="130" y="874"/>
                    <a:pt x="129" y="871"/>
                    <a:pt x="127" y="867"/>
                  </a:cubicBezTo>
                  <a:cubicBezTo>
                    <a:pt x="125" y="864"/>
                    <a:pt x="121" y="859"/>
                    <a:pt x="119" y="859"/>
                  </a:cubicBezTo>
                  <a:cubicBezTo>
                    <a:pt x="117" y="861"/>
                    <a:pt x="126" y="873"/>
                    <a:pt x="128" y="873"/>
                  </a:cubicBezTo>
                  <a:close/>
                  <a:moveTo>
                    <a:pt x="489" y="659"/>
                  </a:moveTo>
                  <a:cubicBezTo>
                    <a:pt x="481" y="660"/>
                    <a:pt x="480" y="670"/>
                    <a:pt x="485" y="674"/>
                  </a:cubicBezTo>
                  <a:cubicBezTo>
                    <a:pt x="491" y="679"/>
                    <a:pt x="499" y="676"/>
                    <a:pt x="499" y="669"/>
                  </a:cubicBezTo>
                  <a:cubicBezTo>
                    <a:pt x="500" y="664"/>
                    <a:pt x="496" y="659"/>
                    <a:pt x="489" y="659"/>
                  </a:cubicBezTo>
                  <a:close/>
                  <a:moveTo>
                    <a:pt x="125" y="855"/>
                  </a:moveTo>
                  <a:cubicBezTo>
                    <a:pt x="126" y="856"/>
                    <a:pt x="126" y="853"/>
                    <a:pt x="124" y="849"/>
                  </a:cubicBezTo>
                  <a:cubicBezTo>
                    <a:pt x="122" y="846"/>
                    <a:pt x="118" y="841"/>
                    <a:pt x="116" y="841"/>
                  </a:cubicBezTo>
                  <a:cubicBezTo>
                    <a:pt x="113" y="843"/>
                    <a:pt x="122" y="855"/>
                    <a:pt x="125" y="855"/>
                  </a:cubicBezTo>
                  <a:close/>
                  <a:moveTo>
                    <a:pt x="136" y="873"/>
                  </a:moveTo>
                  <a:cubicBezTo>
                    <a:pt x="137" y="874"/>
                    <a:pt x="137" y="871"/>
                    <a:pt x="135" y="867"/>
                  </a:cubicBezTo>
                  <a:cubicBezTo>
                    <a:pt x="133" y="863"/>
                    <a:pt x="129" y="859"/>
                    <a:pt x="127" y="859"/>
                  </a:cubicBezTo>
                  <a:cubicBezTo>
                    <a:pt x="124" y="861"/>
                    <a:pt x="133" y="873"/>
                    <a:pt x="136" y="873"/>
                  </a:cubicBezTo>
                  <a:close/>
                  <a:moveTo>
                    <a:pt x="143" y="873"/>
                  </a:moveTo>
                  <a:cubicBezTo>
                    <a:pt x="145" y="874"/>
                    <a:pt x="145" y="872"/>
                    <a:pt x="144" y="868"/>
                  </a:cubicBezTo>
                  <a:cubicBezTo>
                    <a:pt x="144" y="868"/>
                    <a:pt x="143" y="867"/>
                    <a:pt x="143" y="867"/>
                  </a:cubicBezTo>
                  <a:cubicBezTo>
                    <a:pt x="141" y="864"/>
                    <a:pt x="137" y="859"/>
                    <a:pt x="135" y="859"/>
                  </a:cubicBezTo>
                  <a:cubicBezTo>
                    <a:pt x="132" y="861"/>
                    <a:pt x="140" y="872"/>
                    <a:pt x="143" y="873"/>
                  </a:cubicBezTo>
                  <a:close/>
                  <a:moveTo>
                    <a:pt x="474" y="669"/>
                  </a:moveTo>
                  <a:cubicBezTo>
                    <a:pt x="475" y="664"/>
                    <a:pt x="471" y="659"/>
                    <a:pt x="465" y="659"/>
                  </a:cubicBezTo>
                  <a:cubicBezTo>
                    <a:pt x="457" y="660"/>
                    <a:pt x="455" y="670"/>
                    <a:pt x="461" y="674"/>
                  </a:cubicBezTo>
                  <a:cubicBezTo>
                    <a:pt x="466" y="679"/>
                    <a:pt x="474" y="675"/>
                    <a:pt x="474" y="669"/>
                  </a:cubicBezTo>
                  <a:close/>
                  <a:moveTo>
                    <a:pt x="147" y="890"/>
                  </a:moveTo>
                  <a:cubicBezTo>
                    <a:pt x="149" y="891"/>
                    <a:pt x="148" y="888"/>
                    <a:pt x="146" y="884"/>
                  </a:cubicBezTo>
                  <a:cubicBezTo>
                    <a:pt x="144" y="881"/>
                    <a:pt x="140" y="877"/>
                    <a:pt x="138" y="877"/>
                  </a:cubicBezTo>
                  <a:cubicBezTo>
                    <a:pt x="135" y="878"/>
                    <a:pt x="145" y="890"/>
                    <a:pt x="147" y="890"/>
                  </a:cubicBezTo>
                  <a:close/>
                  <a:moveTo>
                    <a:pt x="301" y="1004"/>
                  </a:moveTo>
                  <a:cubicBezTo>
                    <a:pt x="299" y="1002"/>
                    <a:pt x="294" y="999"/>
                    <a:pt x="292" y="999"/>
                  </a:cubicBezTo>
                  <a:cubicBezTo>
                    <a:pt x="290" y="1000"/>
                    <a:pt x="296" y="1006"/>
                    <a:pt x="301" y="1008"/>
                  </a:cubicBezTo>
                  <a:cubicBezTo>
                    <a:pt x="303" y="1009"/>
                    <a:pt x="304" y="1009"/>
                    <a:pt x="304" y="1008"/>
                  </a:cubicBezTo>
                  <a:cubicBezTo>
                    <a:pt x="304" y="1007"/>
                    <a:pt x="303" y="1006"/>
                    <a:pt x="301" y="1004"/>
                  </a:cubicBezTo>
                  <a:close/>
                  <a:moveTo>
                    <a:pt x="111" y="855"/>
                  </a:moveTo>
                  <a:cubicBezTo>
                    <a:pt x="112" y="856"/>
                    <a:pt x="111" y="853"/>
                    <a:pt x="109" y="849"/>
                  </a:cubicBezTo>
                  <a:cubicBezTo>
                    <a:pt x="107" y="846"/>
                    <a:pt x="104" y="841"/>
                    <a:pt x="102" y="841"/>
                  </a:cubicBezTo>
                  <a:cubicBezTo>
                    <a:pt x="100" y="843"/>
                    <a:pt x="108" y="855"/>
                    <a:pt x="111" y="855"/>
                  </a:cubicBezTo>
                  <a:close/>
                  <a:moveTo>
                    <a:pt x="216" y="798"/>
                  </a:moveTo>
                  <a:cubicBezTo>
                    <a:pt x="220" y="801"/>
                    <a:pt x="224" y="798"/>
                    <a:pt x="222" y="792"/>
                  </a:cubicBezTo>
                  <a:cubicBezTo>
                    <a:pt x="222" y="789"/>
                    <a:pt x="218" y="784"/>
                    <a:pt x="214" y="784"/>
                  </a:cubicBezTo>
                  <a:cubicBezTo>
                    <a:pt x="208" y="785"/>
                    <a:pt x="211" y="795"/>
                    <a:pt x="216" y="798"/>
                  </a:cubicBezTo>
                  <a:close/>
                  <a:moveTo>
                    <a:pt x="515" y="659"/>
                  </a:moveTo>
                  <a:cubicBezTo>
                    <a:pt x="506" y="660"/>
                    <a:pt x="505" y="670"/>
                    <a:pt x="510" y="674"/>
                  </a:cubicBezTo>
                  <a:cubicBezTo>
                    <a:pt x="516" y="679"/>
                    <a:pt x="524" y="676"/>
                    <a:pt x="524" y="669"/>
                  </a:cubicBezTo>
                  <a:cubicBezTo>
                    <a:pt x="525" y="664"/>
                    <a:pt x="522" y="659"/>
                    <a:pt x="515" y="659"/>
                  </a:cubicBezTo>
                  <a:close/>
                  <a:moveTo>
                    <a:pt x="155" y="890"/>
                  </a:moveTo>
                  <a:cubicBezTo>
                    <a:pt x="157" y="891"/>
                    <a:pt x="157" y="889"/>
                    <a:pt x="155" y="886"/>
                  </a:cubicBezTo>
                  <a:cubicBezTo>
                    <a:pt x="155" y="886"/>
                    <a:pt x="155" y="885"/>
                    <a:pt x="154" y="884"/>
                  </a:cubicBezTo>
                  <a:cubicBezTo>
                    <a:pt x="152" y="881"/>
                    <a:pt x="148" y="877"/>
                    <a:pt x="146" y="877"/>
                  </a:cubicBezTo>
                  <a:cubicBezTo>
                    <a:pt x="143" y="878"/>
                    <a:pt x="151" y="889"/>
                    <a:pt x="155" y="890"/>
                  </a:cubicBezTo>
                  <a:close/>
                  <a:moveTo>
                    <a:pt x="524" y="647"/>
                  </a:moveTo>
                  <a:cubicBezTo>
                    <a:pt x="525" y="643"/>
                    <a:pt x="521" y="637"/>
                    <a:pt x="514" y="637"/>
                  </a:cubicBezTo>
                  <a:cubicBezTo>
                    <a:pt x="506" y="639"/>
                    <a:pt x="504" y="648"/>
                    <a:pt x="510" y="653"/>
                  </a:cubicBezTo>
                  <a:cubicBezTo>
                    <a:pt x="515" y="657"/>
                    <a:pt x="524" y="654"/>
                    <a:pt x="524" y="647"/>
                  </a:cubicBezTo>
                  <a:close/>
                  <a:moveTo>
                    <a:pt x="869" y="637"/>
                  </a:moveTo>
                  <a:cubicBezTo>
                    <a:pt x="861" y="639"/>
                    <a:pt x="860" y="650"/>
                    <a:pt x="865" y="654"/>
                  </a:cubicBezTo>
                  <a:cubicBezTo>
                    <a:pt x="869" y="657"/>
                    <a:pt x="874" y="653"/>
                    <a:pt x="876" y="647"/>
                  </a:cubicBezTo>
                  <a:cubicBezTo>
                    <a:pt x="876" y="643"/>
                    <a:pt x="874" y="637"/>
                    <a:pt x="869" y="637"/>
                  </a:cubicBezTo>
                  <a:close/>
                  <a:moveTo>
                    <a:pt x="301" y="1021"/>
                  </a:moveTo>
                  <a:cubicBezTo>
                    <a:pt x="302" y="1021"/>
                    <a:pt x="303" y="1021"/>
                    <a:pt x="302" y="1020"/>
                  </a:cubicBezTo>
                  <a:cubicBezTo>
                    <a:pt x="302" y="1019"/>
                    <a:pt x="301" y="1018"/>
                    <a:pt x="299" y="1017"/>
                  </a:cubicBezTo>
                  <a:cubicBezTo>
                    <a:pt x="297" y="1014"/>
                    <a:pt x="292" y="1011"/>
                    <a:pt x="290" y="1011"/>
                  </a:cubicBezTo>
                  <a:cubicBezTo>
                    <a:pt x="288" y="1012"/>
                    <a:pt x="296" y="1019"/>
                    <a:pt x="301" y="1021"/>
                  </a:cubicBezTo>
                  <a:close/>
                  <a:moveTo>
                    <a:pt x="255" y="1007"/>
                  </a:moveTo>
                  <a:cubicBezTo>
                    <a:pt x="254" y="1006"/>
                    <a:pt x="253" y="1005"/>
                    <a:pt x="252" y="1004"/>
                  </a:cubicBezTo>
                  <a:cubicBezTo>
                    <a:pt x="249" y="1002"/>
                    <a:pt x="244" y="999"/>
                    <a:pt x="243" y="999"/>
                  </a:cubicBezTo>
                  <a:cubicBezTo>
                    <a:pt x="242" y="1000"/>
                    <a:pt x="255" y="1009"/>
                    <a:pt x="256" y="1009"/>
                  </a:cubicBezTo>
                  <a:cubicBezTo>
                    <a:pt x="257" y="1009"/>
                    <a:pt x="255" y="1007"/>
                    <a:pt x="255" y="1007"/>
                  </a:cubicBezTo>
                  <a:close/>
                  <a:moveTo>
                    <a:pt x="100" y="837"/>
                  </a:moveTo>
                  <a:cubicBezTo>
                    <a:pt x="101" y="838"/>
                    <a:pt x="101" y="835"/>
                    <a:pt x="98" y="831"/>
                  </a:cubicBezTo>
                  <a:cubicBezTo>
                    <a:pt x="97" y="827"/>
                    <a:pt x="93" y="822"/>
                    <a:pt x="92" y="822"/>
                  </a:cubicBezTo>
                  <a:cubicBezTo>
                    <a:pt x="89" y="824"/>
                    <a:pt x="97" y="836"/>
                    <a:pt x="100" y="837"/>
                  </a:cubicBezTo>
                  <a:close/>
                  <a:moveTo>
                    <a:pt x="338" y="1059"/>
                  </a:moveTo>
                  <a:cubicBezTo>
                    <a:pt x="335" y="1057"/>
                    <a:pt x="330" y="1055"/>
                    <a:pt x="329" y="1055"/>
                  </a:cubicBezTo>
                  <a:cubicBezTo>
                    <a:pt x="329" y="1056"/>
                    <a:pt x="343" y="1062"/>
                    <a:pt x="344" y="1062"/>
                  </a:cubicBezTo>
                  <a:cubicBezTo>
                    <a:pt x="344" y="1062"/>
                    <a:pt x="344" y="1062"/>
                    <a:pt x="338" y="1059"/>
                  </a:cubicBezTo>
                  <a:close/>
                  <a:moveTo>
                    <a:pt x="320" y="1050"/>
                  </a:moveTo>
                  <a:cubicBezTo>
                    <a:pt x="317" y="1048"/>
                    <a:pt x="312" y="1045"/>
                    <a:pt x="311" y="1045"/>
                  </a:cubicBezTo>
                  <a:cubicBezTo>
                    <a:pt x="311" y="1047"/>
                    <a:pt x="325" y="1053"/>
                    <a:pt x="325" y="1053"/>
                  </a:cubicBezTo>
                  <a:cubicBezTo>
                    <a:pt x="325" y="1053"/>
                    <a:pt x="324" y="1051"/>
                    <a:pt x="320" y="1050"/>
                  </a:cubicBezTo>
                  <a:close/>
                  <a:moveTo>
                    <a:pt x="342" y="1059"/>
                  </a:moveTo>
                  <a:cubicBezTo>
                    <a:pt x="339" y="1057"/>
                    <a:pt x="334" y="1055"/>
                    <a:pt x="333" y="1055"/>
                  </a:cubicBezTo>
                  <a:cubicBezTo>
                    <a:pt x="333" y="1056"/>
                    <a:pt x="347" y="1062"/>
                    <a:pt x="348" y="1062"/>
                  </a:cubicBezTo>
                  <a:cubicBezTo>
                    <a:pt x="347" y="1062"/>
                    <a:pt x="346" y="1061"/>
                    <a:pt x="342" y="1059"/>
                  </a:cubicBezTo>
                  <a:close/>
                  <a:moveTo>
                    <a:pt x="357" y="1068"/>
                  </a:moveTo>
                  <a:cubicBezTo>
                    <a:pt x="354" y="1067"/>
                    <a:pt x="348" y="1064"/>
                    <a:pt x="348" y="1064"/>
                  </a:cubicBezTo>
                  <a:cubicBezTo>
                    <a:pt x="348" y="1065"/>
                    <a:pt x="362" y="1071"/>
                    <a:pt x="363" y="1071"/>
                  </a:cubicBezTo>
                  <a:cubicBezTo>
                    <a:pt x="363" y="1071"/>
                    <a:pt x="362" y="1070"/>
                    <a:pt x="357" y="1068"/>
                  </a:cubicBezTo>
                  <a:close/>
                  <a:moveTo>
                    <a:pt x="272" y="1020"/>
                  </a:moveTo>
                  <a:cubicBezTo>
                    <a:pt x="272" y="1019"/>
                    <a:pt x="270" y="1018"/>
                    <a:pt x="268" y="1017"/>
                  </a:cubicBezTo>
                  <a:cubicBezTo>
                    <a:pt x="265" y="1014"/>
                    <a:pt x="260" y="1011"/>
                    <a:pt x="259" y="1011"/>
                  </a:cubicBezTo>
                  <a:cubicBezTo>
                    <a:pt x="258" y="1013"/>
                    <a:pt x="271" y="1021"/>
                    <a:pt x="273" y="1021"/>
                  </a:cubicBezTo>
                  <a:cubicBezTo>
                    <a:pt x="273" y="1021"/>
                    <a:pt x="273" y="1020"/>
                    <a:pt x="272" y="1020"/>
                  </a:cubicBezTo>
                  <a:close/>
                  <a:moveTo>
                    <a:pt x="303" y="1039"/>
                  </a:moveTo>
                  <a:cubicBezTo>
                    <a:pt x="299" y="1037"/>
                    <a:pt x="294" y="1034"/>
                    <a:pt x="293" y="1035"/>
                  </a:cubicBezTo>
                  <a:cubicBezTo>
                    <a:pt x="293" y="1035"/>
                    <a:pt x="293" y="1035"/>
                    <a:pt x="293" y="1035"/>
                  </a:cubicBezTo>
                  <a:cubicBezTo>
                    <a:pt x="294" y="1036"/>
                    <a:pt x="306" y="1043"/>
                    <a:pt x="308" y="1043"/>
                  </a:cubicBezTo>
                  <a:cubicBezTo>
                    <a:pt x="308" y="1043"/>
                    <a:pt x="306" y="1041"/>
                    <a:pt x="303" y="1039"/>
                  </a:cubicBezTo>
                  <a:close/>
                  <a:moveTo>
                    <a:pt x="373" y="1076"/>
                  </a:moveTo>
                  <a:cubicBezTo>
                    <a:pt x="371" y="1075"/>
                    <a:pt x="364" y="1072"/>
                    <a:pt x="363" y="1073"/>
                  </a:cubicBezTo>
                  <a:cubicBezTo>
                    <a:pt x="364" y="1074"/>
                    <a:pt x="377" y="1078"/>
                    <a:pt x="379" y="1079"/>
                  </a:cubicBezTo>
                  <a:cubicBezTo>
                    <a:pt x="379" y="1079"/>
                    <a:pt x="379" y="1078"/>
                    <a:pt x="373" y="1076"/>
                  </a:cubicBezTo>
                  <a:close/>
                  <a:moveTo>
                    <a:pt x="285" y="1028"/>
                  </a:moveTo>
                  <a:cubicBezTo>
                    <a:pt x="282" y="1026"/>
                    <a:pt x="277" y="1023"/>
                    <a:pt x="276" y="1023"/>
                  </a:cubicBezTo>
                  <a:cubicBezTo>
                    <a:pt x="276" y="1023"/>
                    <a:pt x="276" y="1023"/>
                    <a:pt x="276" y="1023"/>
                  </a:cubicBezTo>
                  <a:cubicBezTo>
                    <a:pt x="276" y="1025"/>
                    <a:pt x="289" y="1033"/>
                    <a:pt x="290" y="1032"/>
                  </a:cubicBezTo>
                  <a:cubicBezTo>
                    <a:pt x="290" y="1032"/>
                    <a:pt x="290" y="1032"/>
                    <a:pt x="290" y="1032"/>
                  </a:cubicBezTo>
                  <a:cubicBezTo>
                    <a:pt x="290" y="1031"/>
                    <a:pt x="287" y="1029"/>
                    <a:pt x="285" y="1028"/>
                  </a:cubicBezTo>
                  <a:close/>
                  <a:moveTo>
                    <a:pt x="451" y="690"/>
                  </a:moveTo>
                  <a:cubicBezTo>
                    <a:pt x="451" y="686"/>
                    <a:pt x="448" y="681"/>
                    <a:pt x="441" y="681"/>
                  </a:cubicBezTo>
                  <a:cubicBezTo>
                    <a:pt x="433" y="682"/>
                    <a:pt x="432" y="692"/>
                    <a:pt x="438" y="696"/>
                  </a:cubicBezTo>
                  <a:cubicBezTo>
                    <a:pt x="444" y="700"/>
                    <a:pt x="451" y="696"/>
                    <a:pt x="451" y="690"/>
                  </a:cubicBezTo>
                  <a:close/>
                  <a:moveTo>
                    <a:pt x="356" y="1062"/>
                  </a:moveTo>
                  <a:cubicBezTo>
                    <a:pt x="356" y="1062"/>
                    <a:pt x="353" y="1060"/>
                    <a:pt x="351" y="1059"/>
                  </a:cubicBezTo>
                  <a:cubicBezTo>
                    <a:pt x="348" y="1057"/>
                    <a:pt x="343" y="1055"/>
                    <a:pt x="342" y="1055"/>
                  </a:cubicBezTo>
                  <a:cubicBezTo>
                    <a:pt x="342" y="1055"/>
                    <a:pt x="342" y="1055"/>
                    <a:pt x="342" y="1055"/>
                  </a:cubicBezTo>
                  <a:cubicBezTo>
                    <a:pt x="342" y="1056"/>
                    <a:pt x="355" y="1063"/>
                    <a:pt x="356" y="1062"/>
                  </a:cubicBezTo>
                  <a:close/>
                  <a:moveTo>
                    <a:pt x="163" y="890"/>
                  </a:moveTo>
                  <a:cubicBezTo>
                    <a:pt x="165" y="891"/>
                    <a:pt x="166" y="889"/>
                    <a:pt x="164" y="886"/>
                  </a:cubicBezTo>
                  <a:cubicBezTo>
                    <a:pt x="164" y="885"/>
                    <a:pt x="163" y="885"/>
                    <a:pt x="163" y="884"/>
                  </a:cubicBezTo>
                  <a:cubicBezTo>
                    <a:pt x="161" y="881"/>
                    <a:pt x="157" y="877"/>
                    <a:pt x="155" y="877"/>
                  </a:cubicBezTo>
                  <a:cubicBezTo>
                    <a:pt x="152" y="878"/>
                    <a:pt x="159" y="889"/>
                    <a:pt x="163" y="890"/>
                  </a:cubicBezTo>
                  <a:close/>
                  <a:moveTo>
                    <a:pt x="167" y="907"/>
                  </a:moveTo>
                  <a:cubicBezTo>
                    <a:pt x="168" y="908"/>
                    <a:pt x="169" y="906"/>
                    <a:pt x="167" y="904"/>
                  </a:cubicBezTo>
                  <a:cubicBezTo>
                    <a:pt x="167" y="903"/>
                    <a:pt x="167" y="902"/>
                    <a:pt x="166" y="901"/>
                  </a:cubicBezTo>
                  <a:cubicBezTo>
                    <a:pt x="164" y="898"/>
                    <a:pt x="160" y="894"/>
                    <a:pt x="158" y="894"/>
                  </a:cubicBezTo>
                  <a:cubicBezTo>
                    <a:pt x="155" y="895"/>
                    <a:pt x="163" y="906"/>
                    <a:pt x="167" y="907"/>
                  </a:cubicBezTo>
                  <a:close/>
                  <a:moveTo>
                    <a:pt x="376" y="1076"/>
                  </a:moveTo>
                  <a:cubicBezTo>
                    <a:pt x="375" y="1076"/>
                    <a:pt x="367" y="1072"/>
                    <a:pt x="366" y="1073"/>
                  </a:cubicBezTo>
                  <a:cubicBezTo>
                    <a:pt x="367" y="1074"/>
                    <a:pt x="380" y="1078"/>
                    <a:pt x="382" y="1079"/>
                  </a:cubicBezTo>
                  <a:cubicBezTo>
                    <a:pt x="382" y="1079"/>
                    <a:pt x="382" y="1078"/>
                    <a:pt x="376" y="1076"/>
                  </a:cubicBezTo>
                  <a:close/>
                  <a:moveTo>
                    <a:pt x="175" y="907"/>
                  </a:moveTo>
                  <a:cubicBezTo>
                    <a:pt x="177" y="908"/>
                    <a:pt x="177" y="907"/>
                    <a:pt x="176" y="904"/>
                  </a:cubicBezTo>
                  <a:cubicBezTo>
                    <a:pt x="176" y="903"/>
                    <a:pt x="175" y="902"/>
                    <a:pt x="175" y="901"/>
                  </a:cubicBezTo>
                  <a:cubicBezTo>
                    <a:pt x="173" y="898"/>
                    <a:pt x="169" y="894"/>
                    <a:pt x="166" y="894"/>
                  </a:cubicBezTo>
                  <a:cubicBezTo>
                    <a:pt x="163" y="895"/>
                    <a:pt x="171" y="905"/>
                    <a:pt x="175" y="907"/>
                  </a:cubicBezTo>
                  <a:close/>
                  <a:moveTo>
                    <a:pt x="188" y="923"/>
                  </a:moveTo>
                  <a:cubicBezTo>
                    <a:pt x="189" y="924"/>
                    <a:pt x="190" y="923"/>
                    <a:pt x="188" y="920"/>
                  </a:cubicBezTo>
                  <a:cubicBezTo>
                    <a:pt x="188" y="920"/>
                    <a:pt x="188" y="919"/>
                    <a:pt x="187" y="918"/>
                  </a:cubicBezTo>
                  <a:cubicBezTo>
                    <a:pt x="185" y="915"/>
                    <a:pt x="180" y="910"/>
                    <a:pt x="178" y="911"/>
                  </a:cubicBezTo>
                  <a:cubicBezTo>
                    <a:pt x="175" y="912"/>
                    <a:pt x="184" y="922"/>
                    <a:pt x="188" y="923"/>
                  </a:cubicBezTo>
                  <a:close/>
                  <a:moveTo>
                    <a:pt x="180" y="923"/>
                  </a:moveTo>
                  <a:cubicBezTo>
                    <a:pt x="181" y="924"/>
                    <a:pt x="181" y="923"/>
                    <a:pt x="180" y="921"/>
                  </a:cubicBezTo>
                  <a:cubicBezTo>
                    <a:pt x="180" y="920"/>
                    <a:pt x="179" y="919"/>
                    <a:pt x="178" y="918"/>
                  </a:cubicBezTo>
                  <a:cubicBezTo>
                    <a:pt x="176" y="915"/>
                    <a:pt x="172" y="910"/>
                    <a:pt x="170" y="911"/>
                  </a:cubicBezTo>
                  <a:cubicBezTo>
                    <a:pt x="167" y="912"/>
                    <a:pt x="176" y="922"/>
                    <a:pt x="180" y="923"/>
                  </a:cubicBezTo>
                  <a:close/>
                  <a:moveTo>
                    <a:pt x="524" y="625"/>
                  </a:moveTo>
                  <a:cubicBezTo>
                    <a:pt x="524" y="620"/>
                    <a:pt x="521" y="615"/>
                    <a:pt x="514" y="615"/>
                  </a:cubicBezTo>
                  <a:cubicBezTo>
                    <a:pt x="506" y="616"/>
                    <a:pt x="504" y="626"/>
                    <a:pt x="510" y="631"/>
                  </a:cubicBezTo>
                  <a:cubicBezTo>
                    <a:pt x="515" y="635"/>
                    <a:pt x="523" y="632"/>
                    <a:pt x="524" y="625"/>
                  </a:cubicBezTo>
                  <a:close/>
                  <a:moveTo>
                    <a:pt x="436" y="653"/>
                  </a:moveTo>
                  <a:cubicBezTo>
                    <a:pt x="441" y="657"/>
                    <a:pt x="449" y="653"/>
                    <a:pt x="449" y="647"/>
                  </a:cubicBezTo>
                  <a:cubicBezTo>
                    <a:pt x="449" y="643"/>
                    <a:pt x="446" y="637"/>
                    <a:pt x="439" y="637"/>
                  </a:cubicBezTo>
                  <a:cubicBezTo>
                    <a:pt x="431" y="639"/>
                    <a:pt x="430" y="649"/>
                    <a:pt x="436" y="653"/>
                  </a:cubicBezTo>
                  <a:close/>
                  <a:moveTo>
                    <a:pt x="225" y="923"/>
                  </a:moveTo>
                  <a:cubicBezTo>
                    <a:pt x="228" y="924"/>
                    <a:pt x="229" y="923"/>
                    <a:pt x="229" y="921"/>
                  </a:cubicBezTo>
                  <a:cubicBezTo>
                    <a:pt x="228" y="920"/>
                    <a:pt x="228" y="919"/>
                    <a:pt x="227" y="918"/>
                  </a:cubicBezTo>
                  <a:cubicBezTo>
                    <a:pt x="225" y="915"/>
                    <a:pt x="221" y="910"/>
                    <a:pt x="218" y="911"/>
                  </a:cubicBezTo>
                  <a:cubicBezTo>
                    <a:pt x="215" y="912"/>
                    <a:pt x="220" y="920"/>
                    <a:pt x="225" y="923"/>
                  </a:cubicBezTo>
                  <a:close/>
                  <a:moveTo>
                    <a:pt x="416" y="659"/>
                  </a:moveTo>
                  <a:cubicBezTo>
                    <a:pt x="408" y="661"/>
                    <a:pt x="407" y="671"/>
                    <a:pt x="413" y="675"/>
                  </a:cubicBezTo>
                  <a:cubicBezTo>
                    <a:pt x="419" y="679"/>
                    <a:pt x="425" y="675"/>
                    <a:pt x="426" y="669"/>
                  </a:cubicBezTo>
                  <a:cubicBezTo>
                    <a:pt x="426" y="664"/>
                    <a:pt x="423" y="659"/>
                    <a:pt x="416" y="659"/>
                  </a:cubicBezTo>
                  <a:close/>
                  <a:moveTo>
                    <a:pt x="214" y="906"/>
                  </a:moveTo>
                  <a:cubicBezTo>
                    <a:pt x="217" y="908"/>
                    <a:pt x="218" y="907"/>
                    <a:pt x="217" y="904"/>
                  </a:cubicBezTo>
                  <a:cubicBezTo>
                    <a:pt x="217" y="903"/>
                    <a:pt x="217" y="902"/>
                    <a:pt x="216" y="901"/>
                  </a:cubicBezTo>
                  <a:cubicBezTo>
                    <a:pt x="215" y="898"/>
                    <a:pt x="211" y="894"/>
                    <a:pt x="207" y="894"/>
                  </a:cubicBezTo>
                  <a:cubicBezTo>
                    <a:pt x="204" y="895"/>
                    <a:pt x="209" y="904"/>
                    <a:pt x="214" y="906"/>
                  </a:cubicBezTo>
                  <a:close/>
                  <a:moveTo>
                    <a:pt x="215" y="923"/>
                  </a:moveTo>
                  <a:cubicBezTo>
                    <a:pt x="217" y="924"/>
                    <a:pt x="218" y="923"/>
                    <a:pt x="218" y="921"/>
                  </a:cubicBezTo>
                  <a:cubicBezTo>
                    <a:pt x="217" y="920"/>
                    <a:pt x="217" y="919"/>
                    <a:pt x="216" y="918"/>
                  </a:cubicBezTo>
                  <a:cubicBezTo>
                    <a:pt x="214" y="915"/>
                    <a:pt x="210" y="910"/>
                    <a:pt x="207" y="911"/>
                  </a:cubicBezTo>
                  <a:cubicBezTo>
                    <a:pt x="204" y="912"/>
                    <a:pt x="210" y="921"/>
                    <a:pt x="215" y="923"/>
                  </a:cubicBezTo>
                  <a:close/>
                  <a:moveTo>
                    <a:pt x="204" y="890"/>
                  </a:moveTo>
                  <a:cubicBezTo>
                    <a:pt x="207" y="891"/>
                    <a:pt x="208" y="890"/>
                    <a:pt x="207" y="886"/>
                  </a:cubicBezTo>
                  <a:cubicBezTo>
                    <a:pt x="207" y="886"/>
                    <a:pt x="206" y="885"/>
                    <a:pt x="206" y="884"/>
                  </a:cubicBezTo>
                  <a:cubicBezTo>
                    <a:pt x="204" y="881"/>
                    <a:pt x="200" y="877"/>
                    <a:pt x="197" y="877"/>
                  </a:cubicBezTo>
                  <a:cubicBezTo>
                    <a:pt x="193" y="878"/>
                    <a:pt x="199" y="887"/>
                    <a:pt x="204" y="890"/>
                  </a:cubicBezTo>
                  <a:close/>
                  <a:moveTo>
                    <a:pt x="192" y="890"/>
                  </a:moveTo>
                  <a:cubicBezTo>
                    <a:pt x="195" y="891"/>
                    <a:pt x="196" y="890"/>
                    <a:pt x="195" y="887"/>
                  </a:cubicBezTo>
                  <a:cubicBezTo>
                    <a:pt x="195" y="886"/>
                    <a:pt x="195" y="885"/>
                    <a:pt x="194" y="884"/>
                  </a:cubicBezTo>
                  <a:cubicBezTo>
                    <a:pt x="193" y="881"/>
                    <a:pt x="188" y="877"/>
                    <a:pt x="185" y="877"/>
                  </a:cubicBezTo>
                  <a:cubicBezTo>
                    <a:pt x="182" y="878"/>
                    <a:pt x="187" y="887"/>
                    <a:pt x="192" y="890"/>
                  </a:cubicBezTo>
                  <a:close/>
                  <a:moveTo>
                    <a:pt x="197" y="868"/>
                  </a:moveTo>
                  <a:cubicBezTo>
                    <a:pt x="197" y="868"/>
                    <a:pt x="196" y="867"/>
                    <a:pt x="196" y="867"/>
                  </a:cubicBezTo>
                  <a:cubicBezTo>
                    <a:pt x="195" y="864"/>
                    <a:pt x="191" y="859"/>
                    <a:pt x="187" y="859"/>
                  </a:cubicBezTo>
                  <a:cubicBezTo>
                    <a:pt x="183" y="860"/>
                    <a:pt x="189" y="870"/>
                    <a:pt x="194" y="873"/>
                  </a:cubicBezTo>
                  <a:cubicBezTo>
                    <a:pt x="197" y="874"/>
                    <a:pt x="198" y="872"/>
                    <a:pt x="197" y="868"/>
                  </a:cubicBezTo>
                  <a:close/>
                  <a:moveTo>
                    <a:pt x="262" y="812"/>
                  </a:moveTo>
                  <a:cubicBezTo>
                    <a:pt x="262" y="812"/>
                    <a:pt x="262" y="812"/>
                    <a:pt x="262" y="812"/>
                  </a:cubicBezTo>
                  <a:cubicBezTo>
                    <a:pt x="261" y="808"/>
                    <a:pt x="258" y="803"/>
                    <a:pt x="253" y="803"/>
                  </a:cubicBezTo>
                  <a:cubicBezTo>
                    <a:pt x="247" y="805"/>
                    <a:pt x="249" y="814"/>
                    <a:pt x="255" y="817"/>
                  </a:cubicBezTo>
                  <a:cubicBezTo>
                    <a:pt x="259" y="820"/>
                    <a:pt x="263" y="818"/>
                    <a:pt x="262" y="812"/>
                  </a:cubicBezTo>
                  <a:close/>
                  <a:moveTo>
                    <a:pt x="415" y="637"/>
                  </a:moveTo>
                  <a:cubicBezTo>
                    <a:pt x="407" y="639"/>
                    <a:pt x="406" y="649"/>
                    <a:pt x="412" y="653"/>
                  </a:cubicBezTo>
                  <a:cubicBezTo>
                    <a:pt x="417" y="657"/>
                    <a:pt x="424" y="653"/>
                    <a:pt x="425" y="647"/>
                  </a:cubicBezTo>
                  <a:cubicBezTo>
                    <a:pt x="425" y="643"/>
                    <a:pt x="422" y="637"/>
                    <a:pt x="415" y="637"/>
                  </a:cubicBezTo>
                  <a:close/>
                  <a:moveTo>
                    <a:pt x="249" y="954"/>
                  </a:moveTo>
                  <a:cubicBezTo>
                    <a:pt x="251" y="955"/>
                    <a:pt x="252" y="954"/>
                    <a:pt x="252" y="952"/>
                  </a:cubicBezTo>
                  <a:cubicBezTo>
                    <a:pt x="252" y="952"/>
                    <a:pt x="251" y="950"/>
                    <a:pt x="250" y="949"/>
                  </a:cubicBezTo>
                  <a:cubicBezTo>
                    <a:pt x="248" y="946"/>
                    <a:pt x="244" y="942"/>
                    <a:pt x="241" y="942"/>
                  </a:cubicBezTo>
                  <a:cubicBezTo>
                    <a:pt x="238" y="943"/>
                    <a:pt x="244" y="951"/>
                    <a:pt x="249" y="954"/>
                  </a:cubicBezTo>
                  <a:close/>
                  <a:moveTo>
                    <a:pt x="252" y="968"/>
                  </a:moveTo>
                  <a:cubicBezTo>
                    <a:pt x="254" y="969"/>
                    <a:pt x="255" y="969"/>
                    <a:pt x="254" y="967"/>
                  </a:cubicBezTo>
                  <a:cubicBezTo>
                    <a:pt x="254" y="967"/>
                    <a:pt x="254" y="966"/>
                    <a:pt x="252" y="964"/>
                  </a:cubicBezTo>
                  <a:cubicBezTo>
                    <a:pt x="250" y="961"/>
                    <a:pt x="246" y="957"/>
                    <a:pt x="243" y="957"/>
                  </a:cubicBezTo>
                  <a:cubicBezTo>
                    <a:pt x="240" y="958"/>
                    <a:pt x="247" y="966"/>
                    <a:pt x="252" y="968"/>
                  </a:cubicBezTo>
                  <a:close/>
                  <a:moveTo>
                    <a:pt x="239" y="793"/>
                  </a:moveTo>
                  <a:cubicBezTo>
                    <a:pt x="239" y="793"/>
                    <a:pt x="239" y="793"/>
                    <a:pt x="239" y="792"/>
                  </a:cubicBezTo>
                  <a:cubicBezTo>
                    <a:pt x="238" y="789"/>
                    <a:pt x="235" y="784"/>
                    <a:pt x="230" y="784"/>
                  </a:cubicBezTo>
                  <a:cubicBezTo>
                    <a:pt x="225" y="785"/>
                    <a:pt x="226" y="794"/>
                    <a:pt x="232" y="798"/>
                  </a:cubicBezTo>
                  <a:cubicBezTo>
                    <a:pt x="236" y="801"/>
                    <a:pt x="240" y="799"/>
                    <a:pt x="239" y="793"/>
                  </a:cubicBezTo>
                  <a:close/>
                  <a:moveTo>
                    <a:pt x="435" y="631"/>
                  </a:moveTo>
                  <a:cubicBezTo>
                    <a:pt x="441" y="635"/>
                    <a:pt x="448" y="631"/>
                    <a:pt x="448" y="625"/>
                  </a:cubicBezTo>
                  <a:cubicBezTo>
                    <a:pt x="449" y="620"/>
                    <a:pt x="445" y="615"/>
                    <a:pt x="439" y="615"/>
                  </a:cubicBezTo>
                  <a:cubicBezTo>
                    <a:pt x="430" y="616"/>
                    <a:pt x="429" y="627"/>
                    <a:pt x="435" y="631"/>
                  </a:cubicBezTo>
                  <a:close/>
                  <a:moveTo>
                    <a:pt x="239" y="954"/>
                  </a:moveTo>
                  <a:cubicBezTo>
                    <a:pt x="241" y="955"/>
                    <a:pt x="242" y="954"/>
                    <a:pt x="242" y="952"/>
                  </a:cubicBezTo>
                  <a:cubicBezTo>
                    <a:pt x="241" y="952"/>
                    <a:pt x="241" y="950"/>
                    <a:pt x="240" y="949"/>
                  </a:cubicBezTo>
                  <a:cubicBezTo>
                    <a:pt x="238" y="946"/>
                    <a:pt x="233" y="942"/>
                    <a:pt x="231" y="942"/>
                  </a:cubicBezTo>
                  <a:cubicBezTo>
                    <a:pt x="228" y="943"/>
                    <a:pt x="234" y="952"/>
                    <a:pt x="239" y="954"/>
                  </a:cubicBezTo>
                  <a:close/>
                  <a:moveTo>
                    <a:pt x="227" y="939"/>
                  </a:moveTo>
                  <a:cubicBezTo>
                    <a:pt x="229" y="940"/>
                    <a:pt x="230" y="939"/>
                    <a:pt x="229" y="936"/>
                  </a:cubicBezTo>
                  <a:cubicBezTo>
                    <a:pt x="229" y="936"/>
                    <a:pt x="228" y="935"/>
                    <a:pt x="228" y="934"/>
                  </a:cubicBezTo>
                  <a:cubicBezTo>
                    <a:pt x="226" y="931"/>
                    <a:pt x="221" y="927"/>
                    <a:pt x="219" y="927"/>
                  </a:cubicBezTo>
                  <a:cubicBezTo>
                    <a:pt x="215" y="928"/>
                    <a:pt x="222" y="936"/>
                    <a:pt x="227" y="939"/>
                  </a:cubicBezTo>
                  <a:close/>
                  <a:moveTo>
                    <a:pt x="236" y="938"/>
                  </a:moveTo>
                  <a:cubicBezTo>
                    <a:pt x="239" y="940"/>
                    <a:pt x="241" y="939"/>
                    <a:pt x="240" y="936"/>
                  </a:cubicBezTo>
                  <a:cubicBezTo>
                    <a:pt x="240" y="936"/>
                    <a:pt x="239" y="935"/>
                    <a:pt x="238" y="934"/>
                  </a:cubicBezTo>
                  <a:cubicBezTo>
                    <a:pt x="236" y="931"/>
                    <a:pt x="232" y="927"/>
                    <a:pt x="229" y="927"/>
                  </a:cubicBezTo>
                  <a:cubicBezTo>
                    <a:pt x="226" y="928"/>
                    <a:pt x="232" y="936"/>
                    <a:pt x="236" y="938"/>
                  </a:cubicBezTo>
                  <a:close/>
                  <a:moveTo>
                    <a:pt x="437" y="675"/>
                  </a:moveTo>
                  <a:cubicBezTo>
                    <a:pt x="442" y="678"/>
                    <a:pt x="449" y="675"/>
                    <a:pt x="450" y="669"/>
                  </a:cubicBezTo>
                  <a:cubicBezTo>
                    <a:pt x="450" y="664"/>
                    <a:pt x="447" y="659"/>
                    <a:pt x="440" y="659"/>
                  </a:cubicBezTo>
                  <a:cubicBezTo>
                    <a:pt x="432" y="661"/>
                    <a:pt x="431" y="671"/>
                    <a:pt x="437" y="675"/>
                  </a:cubicBezTo>
                  <a:close/>
                  <a:moveTo>
                    <a:pt x="245" y="812"/>
                  </a:moveTo>
                  <a:cubicBezTo>
                    <a:pt x="244" y="808"/>
                    <a:pt x="241" y="803"/>
                    <a:pt x="236" y="803"/>
                  </a:cubicBezTo>
                  <a:cubicBezTo>
                    <a:pt x="231" y="805"/>
                    <a:pt x="233" y="814"/>
                    <a:pt x="238" y="817"/>
                  </a:cubicBezTo>
                  <a:cubicBezTo>
                    <a:pt x="243" y="820"/>
                    <a:pt x="246" y="818"/>
                    <a:pt x="245" y="812"/>
                  </a:cubicBezTo>
                  <a:cubicBezTo>
                    <a:pt x="245" y="812"/>
                    <a:pt x="245" y="812"/>
                    <a:pt x="245" y="812"/>
                  </a:cubicBezTo>
                  <a:close/>
                  <a:moveTo>
                    <a:pt x="223" y="818"/>
                  </a:moveTo>
                  <a:cubicBezTo>
                    <a:pt x="227" y="820"/>
                    <a:pt x="230" y="817"/>
                    <a:pt x="229" y="812"/>
                  </a:cubicBezTo>
                  <a:cubicBezTo>
                    <a:pt x="228" y="808"/>
                    <a:pt x="224" y="803"/>
                    <a:pt x="220" y="803"/>
                  </a:cubicBezTo>
                  <a:cubicBezTo>
                    <a:pt x="215" y="805"/>
                    <a:pt x="217" y="814"/>
                    <a:pt x="223" y="818"/>
                  </a:cubicBezTo>
                  <a:close/>
                  <a:moveTo>
                    <a:pt x="274" y="982"/>
                  </a:moveTo>
                  <a:cubicBezTo>
                    <a:pt x="276" y="983"/>
                    <a:pt x="278" y="983"/>
                    <a:pt x="277" y="981"/>
                  </a:cubicBezTo>
                  <a:cubicBezTo>
                    <a:pt x="277" y="981"/>
                    <a:pt x="276" y="980"/>
                    <a:pt x="275" y="978"/>
                  </a:cubicBezTo>
                  <a:cubicBezTo>
                    <a:pt x="273" y="975"/>
                    <a:pt x="268" y="972"/>
                    <a:pt x="266" y="972"/>
                  </a:cubicBezTo>
                  <a:cubicBezTo>
                    <a:pt x="263" y="973"/>
                    <a:pt x="269" y="980"/>
                    <a:pt x="274" y="982"/>
                  </a:cubicBezTo>
                  <a:close/>
                  <a:moveTo>
                    <a:pt x="485" y="631"/>
                  </a:moveTo>
                  <a:cubicBezTo>
                    <a:pt x="490" y="635"/>
                    <a:pt x="498" y="631"/>
                    <a:pt x="498" y="625"/>
                  </a:cubicBezTo>
                  <a:cubicBezTo>
                    <a:pt x="499" y="620"/>
                    <a:pt x="496" y="615"/>
                    <a:pt x="489" y="615"/>
                  </a:cubicBezTo>
                  <a:cubicBezTo>
                    <a:pt x="480" y="616"/>
                    <a:pt x="478" y="627"/>
                    <a:pt x="485" y="631"/>
                  </a:cubicBezTo>
                  <a:close/>
                  <a:moveTo>
                    <a:pt x="287" y="995"/>
                  </a:moveTo>
                  <a:cubicBezTo>
                    <a:pt x="289" y="997"/>
                    <a:pt x="291" y="996"/>
                    <a:pt x="290" y="995"/>
                  </a:cubicBezTo>
                  <a:cubicBezTo>
                    <a:pt x="290" y="994"/>
                    <a:pt x="289" y="993"/>
                    <a:pt x="288" y="991"/>
                  </a:cubicBezTo>
                  <a:cubicBezTo>
                    <a:pt x="286" y="989"/>
                    <a:pt x="281" y="985"/>
                    <a:pt x="279" y="986"/>
                  </a:cubicBezTo>
                  <a:cubicBezTo>
                    <a:pt x="276" y="986"/>
                    <a:pt x="282" y="993"/>
                    <a:pt x="287" y="995"/>
                  </a:cubicBezTo>
                  <a:close/>
                  <a:moveTo>
                    <a:pt x="200" y="773"/>
                  </a:moveTo>
                  <a:cubicBezTo>
                    <a:pt x="199" y="769"/>
                    <a:pt x="196" y="764"/>
                    <a:pt x="192" y="764"/>
                  </a:cubicBezTo>
                  <a:cubicBezTo>
                    <a:pt x="186" y="765"/>
                    <a:pt x="188" y="775"/>
                    <a:pt x="194" y="779"/>
                  </a:cubicBezTo>
                  <a:cubicBezTo>
                    <a:pt x="198" y="782"/>
                    <a:pt x="201" y="778"/>
                    <a:pt x="200" y="773"/>
                  </a:cubicBezTo>
                  <a:close/>
                  <a:moveTo>
                    <a:pt x="198" y="812"/>
                  </a:moveTo>
                  <a:cubicBezTo>
                    <a:pt x="197" y="808"/>
                    <a:pt x="193" y="803"/>
                    <a:pt x="189" y="803"/>
                  </a:cubicBezTo>
                  <a:cubicBezTo>
                    <a:pt x="185" y="805"/>
                    <a:pt x="188" y="814"/>
                    <a:pt x="193" y="818"/>
                  </a:cubicBezTo>
                  <a:cubicBezTo>
                    <a:pt x="197" y="820"/>
                    <a:pt x="200" y="817"/>
                    <a:pt x="198" y="812"/>
                  </a:cubicBezTo>
                  <a:cubicBezTo>
                    <a:pt x="198" y="812"/>
                    <a:pt x="198" y="812"/>
                    <a:pt x="198" y="812"/>
                  </a:cubicBezTo>
                  <a:close/>
                  <a:moveTo>
                    <a:pt x="499" y="647"/>
                  </a:moveTo>
                  <a:cubicBezTo>
                    <a:pt x="499" y="643"/>
                    <a:pt x="496" y="637"/>
                    <a:pt x="489" y="637"/>
                  </a:cubicBezTo>
                  <a:cubicBezTo>
                    <a:pt x="481" y="639"/>
                    <a:pt x="479" y="648"/>
                    <a:pt x="485" y="653"/>
                  </a:cubicBezTo>
                  <a:cubicBezTo>
                    <a:pt x="490" y="657"/>
                    <a:pt x="498" y="654"/>
                    <a:pt x="499" y="647"/>
                  </a:cubicBezTo>
                  <a:close/>
                  <a:moveTo>
                    <a:pt x="182" y="873"/>
                  </a:moveTo>
                  <a:cubicBezTo>
                    <a:pt x="185" y="874"/>
                    <a:pt x="186" y="872"/>
                    <a:pt x="185" y="869"/>
                  </a:cubicBezTo>
                  <a:cubicBezTo>
                    <a:pt x="185" y="868"/>
                    <a:pt x="185" y="868"/>
                    <a:pt x="184" y="867"/>
                  </a:cubicBezTo>
                  <a:cubicBezTo>
                    <a:pt x="183" y="864"/>
                    <a:pt x="179" y="859"/>
                    <a:pt x="176" y="859"/>
                  </a:cubicBezTo>
                  <a:cubicBezTo>
                    <a:pt x="172" y="860"/>
                    <a:pt x="177" y="870"/>
                    <a:pt x="182" y="873"/>
                  </a:cubicBezTo>
                  <a:close/>
                  <a:moveTo>
                    <a:pt x="171" y="873"/>
                  </a:moveTo>
                  <a:cubicBezTo>
                    <a:pt x="174" y="874"/>
                    <a:pt x="175" y="873"/>
                    <a:pt x="174" y="870"/>
                  </a:cubicBezTo>
                  <a:cubicBezTo>
                    <a:pt x="174" y="869"/>
                    <a:pt x="173" y="868"/>
                    <a:pt x="173" y="867"/>
                  </a:cubicBezTo>
                  <a:cubicBezTo>
                    <a:pt x="171" y="864"/>
                    <a:pt x="167" y="859"/>
                    <a:pt x="164" y="859"/>
                  </a:cubicBezTo>
                  <a:cubicBezTo>
                    <a:pt x="161" y="860"/>
                    <a:pt x="166" y="870"/>
                    <a:pt x="171" y="873"/>
                  </a:cubicBezTo>
                  <a:close/>
                  <a:moveTo>
                    <a:pt x="131" y="837"/>
                  </a:moveTo>
                  <a:cubicBezTo>
                    <a:pt x="134" y="838"/>
                    <a:pt x="134" y="835"/>
                    <a:pt x="132" y="831"/>
                  </a:cubicBezTo>
                  <a:cubicBezTo>
                    <a:pt x="130" y="827"/>
                    <a:pt x="127" y="822"/>
                    <a:pt x="124" y="822"/>
                  </a:cubicBezTo>
                  <a:cubicBezTo>
                    <a:pt x="120" y="824"/>
                    <a:pt x="127" y="836"/>
                    <a:pt x="131" y="837"/>
                  </a:cubicBezTo>
                  <a:close/>
                  <a:moveTo>
                    <a:pt x="161" y="855"/>
                  </a:moveTo>
                  <a:cubicBezTo>
                    <a:pt x="164" y="856"/>
                    <a:pt x="165" y="854"/>
                    <a:pt x="164" y="850"/>
                  </a:cubicBezTo>
                  <a:cubicBezTo>
                    <a:pt x="163" y="850"/>
                    <a:pt x="163" y="849"/>
                    <a:pt x="163" y="849"/>
                  </a:cubicBezTo>
                  <a:cubicBezTo>
                    <a:pt x="161" y="846"/>
                    <a:pt x="158" y="841"/>
                    <a:pt x="155" y="841"/>
                  </a:cubicBezTo>
                  <a:cubicBezTo>
                    <a:pt x="151" y="842"/>
                    <a:pt x="157" y="853"/>
                    <a:pt x="161" y="855"/>
                  </a:cubicBezTo>
                  <a:close/>
                  <a:moveTo>
                    <a:pt x="461" y="653"/>
                  </a:moveTo>
                  <a:cubicBezTo>
                    <a:pt x="466" y="657"/>
                    <a:pt x="473" y="653"/>
                    <a:pt x="474" y="647"/>
                  </a:cubicBezTo>
                  <a:cubicBezTo>
                    <a:pt x="474" y="643"/>
                    <a:pt x="471" y="637"/>
                    <a:pt x="464" y="637"/>
                  </a:cubicBezTo>
                  <a:cubicBezTo>
                    <a:pt x="455" y="639"/>
                    <a:pt x="454" y="649"/>
                    <a:pt x="461" y="653"/>
                  </a:cubicBezTo>
                  <a:close/>
                  <a:moveTo>
                    <a:pt x="175" y="850"/>
                  </a:moveTo>
                  <a:cubicBezTo>
                    <a:pt x="175" y="850"/>
                    <a:pt x="175" y="849"/>
                    <a:pt x="175" y="849"/>
                  </a:cubicBezTo>
                  <a:cubicBezTo>
                    <a:pt x="173" y="846"/>
                    <a:pt x="169" y="841"/>
                    <a:pt x="166" y="841"/>
                  </a:cubicBezTo>
                  <a:cubicBezTo>
                    <a:pt x="162" y="842"/>
                    <a:pt x="167" y="852"/>
                    <a:pt x="172" y="855"/>
                  </a:cubicBezTo>
                  <a:cubicBezTo>
                    <a:pt x="175" y="857"/>
                    <a:pt x="177" y="854"/>
                    <a:pt x="175" y="850"/>
                  </a:cubicBezTo>
                  <a:close/>
                  <a:moveTo>
                    <a:pt x="151" y="855"/>
                  </a:moveTo>
                  <a:cubicBezTo>
                    <a:pt x="153" y="856"/>
                    <a:pt x="154" y="854"/>
                    <a:pt x="153" y="850"/>
                  </a:cubicBezTo>
                  <a:cubicBezTo>
                    <a:pt x="152" y="850"/>
                    <a:pt x="152" y="849"/>
                    <a:pt x="152" y="849"/>
                  </a:cubicBezTo>
                  <a:cubicBezTo>
                    <a:pt x="150" y="846"/>
                    <a:pt x="147" y="841"/>
                    <a:pt x="144" y="841"/>
                  </a:cubicBezTo>
                  <a:cubicBezTo>
                    <a:pt x="140" y="842"/>
                    <a:pt x="146" y="853"/>
                    <a:pt x="151" y="855"/>
                  </a:cubicBezTo>
                  <a:close/>
                  <a:moveTo>
                    <a:pt x="261" y="968"/>
                  </a:moveTo>
                  <a:cubicBezTo>
                    <a:pt x="264" y="969"/>
                    <a:pt x="265" y="969"/>
                    <a:pt x="264" y="967"/>
                  </a:cubicBezTo>
                  <a:cubicBezTo>
                    <a:pt x="264" y="966"/>
                    <a:pt x="263" y="965"/>
                    <a:pt x="262" y="964"/>
                  </a:cubicBezTo>
                  <a:cubicBezTo>
                    <a:pt x="260" y="961"/>
                    <a:pt x="256" y="957"/>
                    <a:pt x="253" y="957"/>
                  </a:cubicBezTo>
                  <a:cubicBezTo>
                    <a:pt x="250" y="958"/>
                    <a:pt x="256" y="966"/>
                    <a:pt x="261" y="968"/>
                  </a:cubicBezTo>
                  <a:close/>
                  <a:moveTo>
                    <a:pt x="141" y="837"/>
                  </a:moveTo>
                  <a:cubicBezTo>
                    <a:pt x="143" y="838"/>
                    <a:pt x="144" y="836"/>
                    <a:pt x="143" y="832"/>
                  </a:cubicBezTo>
                  <a:cubicBezTo>
                    <a:pt x="143" y="832"/>
                    <a:pt x="143" y="831"/>
                    <a:pt x="142" y="831"/>
                  </a:cubicBezTo>
                  <a:cubicBezTo>
                    <a:pt x="141" y="827"/>
                    <a:pt x="137" y="822"/>
                    <a:pt x="134" y="822"/>
                  </a:cubicBezTo>
                  <a:cubicBezTo>
                    <a:pt x="131" y="824"/>
                    <a:pt x="136" y="835"/>
                    <a:pt x="141" y="837"/>
                  </a:cubicBezTo>
                  <a:close/>
                  <a:moveTo>
                    <a:pt x="460" y="631"/>
                  </a:moveTo>
                  <a:cubicBezTo>
                    <a:pt x="465" y="635"/>
                    <a:pt x="473" y="631"/>
                    <a:pt x="473" y="625"/>
                  </a:cubicBezTo>
                  <a:cubicBezTo>
                    <a:pt x="473" y="620"/>
                    <a:pt x="470" y="615"/>
                    <a:pt x="463" y="615"/>
                  </a:cubicBezTo>
                  <a:cubicBezTo>
                    <a:pt x="455" y="616"/>
                    <a:pt x="454" y="627"/>
                    <a:pt x="460" y="631"/>
                  </a:cubicBezTo>
                  <a:close/>
                  <a:moveTo>
                    <a:pt x="294" y="1032"/>
                  </a:moveTo>
                  <a:cubicBezTo>
                    <a:pt x="294" y="1032"/>
                    <a:pt x="295" y="1032"/>
                    <a:pt x="295" y="1032"/>
                  </a:cubicBezTo>
                  <a:cubicBezTo>
                    <a:pt x="295" y="1031"/>
                    <a:pt x="291" y="1029"/>
                    <a:pt x="290" y="1028"/>
                  </a:cubicBezTo>
                  <a:cubicBezTo>
                    <a:pt x="287" y="1026"/>
                    <a:pt x="282" y="1023"/>
                    <a:pt x="281" y="1023"/>
                  </a:cubicBezTo>
                  <a:cubicBezTo>
                    <a:pt x="280" y="1025"/>
                    <a:pt x="293" y="1032"/>
                    <a:pt x="294" y="1032"/>
                  </a:cubicBezTo>
                  <a:close/>
                  <a:moveTo>
                    <a:pt x="339" y="1053"/>
                  </a:moveTo>
                  <a:cubicBezTo>
                    <a:pt x="339" y="1053"/>
                    <a:pt x="339" y="1053"/>
                    <a:pt x="339" y="1053"/>
                  </a:cubicBezTo>
                  <a:cubicBezTo>
                    <a:pt x="339" y="1052"/>
                    <a:pt x="336" y="1050"/>
                    <a:pt x="334" y="1050"/>
                  </a:cubicBezTo>
                  <a:cubicBezTo>
                    <a:pt x="331" y="1048"/>
                    <a:pt x="326" y="1045"/>
                    <a:pt x="325" y="1045"/>
                  </a:cubicBezTo>
                  <a:cubicBezTo>
                    <a:pt x="325" y="1045"/>
                    <a:pt x="325" y="1045"/>
                    <a:pt x="325" y="1045"/>
                  </a:cubicBezTo>
                  <a:cubicBezTo>
                    <a:pt x="325" y="1046"/>
                    <a:pt x="337" y="1054"/>
                    <a:pt x="339" y="1053"/>
                  </a:cubicBezTo>
                  <a:close/>
                  <a:moveTo>
                    <a:pt x="300" y="1032"/>
                  </a:moveTo>
                  <a:cubicBezTo>
                    <a:pt x="299" y="1031"/>
                    <a:pt x="298" y="1030"/>
                    <a:pt x="295" y="1028"/>
                  </a:cubicBezTo>
                  <a:cubicBezTo>
                    <a:pt x="292" y="1026"/>
                    <a:pt x="287" y="1023"/>
                    <a:pt x="286" y="1023"/>
                  </a:cubicBezTo>
                  <a:cubicBezTo>
                    <a:pt x="285" y="1024"/>
                    <a:pt x="297" y="1032"/>
                    <a:pt x="299" y="1032"/>
                  </a:cubicBezTo>
                  <a:cubicBezTo>
                    <a:pt x="300" y="1032"/>
                    <a:pt x="300" y="1032"/>
                    <a:pt x="300" y="1032"/>
                  </a:cubicBezTo>
                  <a:close/>
                  <a:moveTo>
                    <a:pt x="283" y="1020"/>
                  </a:moveTo>
                  <a:cubicBezTo>
                    <a:pt x="282" y="1019"/>
                    <a:pt x="281" y="1018"/>
                    <a:pt x="279" y="1017"/>
                  </a:cubicBezTo>
                  <a:cubicBezTo>
                    <a:pt x="276" y="1014"/>
                    <a:pt x="271" y="1011"/>
                    <a:pt x="270" y="1011"/>
                  </a:cubicBezTo>
                  <a:cubicBezTo>
                    <a:pt x="268" y="1012"/>
                    <a:pt x="280" y="1020"/>
                    <a:pt x="283" y="1021"/>
                  </a:cubicBezTo>
                  <a:cubicBezTo>
                    <a:pt x="283" y="1021"/>
                    <a:pt x="283" y="1021"/>
                    <a:pt x="283" y="1020"/>
                  </a:cubicBezTo>
                  <a:close/>
                  <a:moveTo>
                    <a:pt x="334" y="1053"/>
                  </a:moveTo>
                  <a:cubicBezTo>
                    <a:pt x="334" y="1052"/>
                    <a:pt x="331" y="1050"/>
                    <a:pt x="329" y="1050"/>
                  </a:cubicBezTo>
                  <a:cubicBezTo>
                    <a:pt x="326" y="1048"/>
                    <a:pt x="321" y="1045"/>
                    <a:pt x="320" y="1045"/>
                  </a:cubicBezTo>
                  <a:cubicBezTo>
                    <a:pt x="320" y="1045"/>
                    <a:pt x="320" y="1045"/>
                    <a:pt x="320" y="1045"/>
                  </a:cubicBezTo>
                  <a:cubicBezTo>
                    <a:pt x="320" y="1047"/>
                    <a:pt x="333" y="1054"/>
                    <a:pt x="334" y="1053"/>
                  </a:cubicBezTo>
                  <a:close/>
                  <a:moveTo>
                    <a:pt x="317" y="1043"/>
                  </a:moveTo>
                  <a:cubicBezTo>
                    <a:pt x="317" y="1043"/>
                    <a:pt x="317" y="1043"/>
                    <a:pt x="317" y="1043"/>
                  </a:cubicBezTo>
                  <a:cubicBezTo>
                    <a:pt x="317" y="1042"/>
                    <a:pt x="313" y="1040"/>
                    <a:pt x="312" y="1039"/>
                  </a:cubicBezTo>
                  <a:cubicBezTo>
                    <a:pt x="309" y="1037"/>
                    <a:pt x="304" y="1034"/>
                    <a:pt x="303" y="1035"/>
                  </a:cubicBezTo>
                  <a:cubicBezTo>
                    <a:pt x="303" y="1035"/>
                    <a:pt x="303" y="1035"/>
                    <a:pt x="303" y="1035"/>
                  </a:cubicBezTo>
                  <a:cubicBezTo>
                    <a:pt x="303" y="1036"/>
                    <a:pt x="315" y="1044"/>
                    <a:pt x="317" y="1043"/>
                  </a:cubicBezTo>
                  <a:close/>
                  <a:moveTo>
                    <a:pt x="161" y="764"/>
                  </a:moveTo>
                  <a:cubicBezTo>
                    <a:pt x="156" y="765"/>
                    <a:pt x="160" y="776"/>
                    <a:pt x="165" y="779"/>
                  </a:cubicBezTo>
                  <a:cubicBezTo>
                    <a:pt x="169" y="781"/>
                    <a:pt x="171" y="778"/>
                    <a:pt x="170" y="773"/>
                  </a:cubicBezTo>
                  <a:cubicBezTo>
                    <a:pt x="169" y="769"/>
                    <a:pt x="165" y="764"/>
                    <a:pt x="161" y="764"/>
                  </a:cubicBezTo>
                  <a:close/>
                  <a:moveTo>
                    <a:pt x="329" y="1053"/>
                  </a:moveTo>
                  <a:cubicBezTo>
                    <a:pt x="329" y="1053"/>
                    <a:pt x="328" y="1051"/>
                    <a:pt x="325" y="1050"/>
                  </a:cubicBezTo>
                  <a:cubicBezTo>
                    <a:pt x="321" y="1048"/>
                    <a:pt x="316" y="1045"/>
                    <a:pt x="315" y="1045"/>
                  </a:cubicBezTo>
                  <a:cubicBezTo>
                    <a:pt x="315" y="1045"/>
                    <a:pt x="315" y="1045"/>
                    <a:pt x="315" y="1045"/>
                  </a:cubicBezTo>
                  <a:cubicBezTo>
                    <a:pt x="315" y="1047"/>
                    <a:pt x="328" y="1053"/>
                    <a:pt x="329" y="1053"/>
                  </a:cubicBezTo>
                  <a:close/>
                  <a:moveTo>
                    <a:pt x="312" y="1043"/>
                  </a:moveTo>
                  <a:cubicBezTo>
                    <a:pt x="312" y="1043"/>
                    <a:pt x="312" y="1043"/>
                    <a:pt x="312" y="1043"/>
                  </a:cubicBezTo>
                  <a:cubicBezTo>
                    <a:pt x="312" y="1042"/>
                    <a:pt x="308" y="1040"/>
                    <a:pt x="307" y="1039"/>
                  </a:cubicBezTo>
                  <a:cubicBezTo>
                    <a:pt x="304" y="1037"/>
                    <a:pt x="299" y="1034"/>
                    <a:pt x="298" y="1035"/>
                  </a:cubicBezTo>
                  <a:cubicBezTo>
                    <a:pt x="298" y="1035"/>
                    <a:pt x="298" y="1035"/>
                    <a:pt x="298" y="1035"/>
                  </a:cubicBezTo>
                  <a:cubicBezTo>
                    <a:pt x="298" y="1036"/>
                    <a:pt x="311" y="1044"/>
                    <a:pt x="312" y="1043"/>
                  </a:cubicBezTo>
                  <a:close/>
                  <a:moveTo>
                    <a:pt x="316" y="1032"/>
                  </a:moveTo>
                  <a:cubicBezTo>
                    <a:pt x="317" y="1032"/>
                    <a:pt x="318" y="1032"/>
                    <a:pt x="318" y="1032"/>
                  </a:cubicBezTo>
                  <a:cubicBezTo>
                    <a:pt x="318" y="1031"/>
                    <a:pt x="316" y="1030"/>
                    <a:pt x="314" y="1028"/>
                  </a:cubicBezTo>
                  <a:cubicBezTo>
                    <a:pt x="312" y="1026"/>
                    <a:pt x="307" y="1023"/>
                    <a:pt x="305" y="1023"/>
                  </a:cubicBezTo>
                  <a:cubicBezTo>
                    <a:pt x="303" y="1024"/>
                    <a:pt x="312" y="1030"/>
                    <a:pt x="316" y="1032"/>
                  </a:cubicBezTo>
                  <a:close/>
                  <a:moveTo>
                    <a:pt x="267" y="1008"/>
                  </a:moveTo>
                  <a:cubicBezTo>
                    <a:pt x="266" y="1007"/>
                    <a:pt x="265" y="1006"/>
                    <a:pt x="263" y="1004"/>
                  </a:cubicBezTo>
                  <a:cubicBezTo>
                    <a:pt x="261" y="1002"/>
                    <a:pt x="256" y="999"/>
                    <a:pt x="254" y="999"/>
                  </a:cubicBezTo>
                  <a:cubicBezTo>
                    <a:pt x="252" y="1000"/>
                    <a:pt x="264" y="1008"/>
                    <a:pt x="267" y="1009"/>
                  </a:cubicBezTo>
                  <a:cubicBezTo>
                    <a:pt x="267" y="1009"/>
                    <a:pt x="268" y="1009"/>
                    <a:pt x="267" y="1008"/>
                  </a:cubicBezTo>
                  <a:close/>
                  <a:moveTo>
                    <a:pt x="307" y="1017"/>
                  </a:moveTo>
                  <a:cubicBezTo>
                    <a:pt x="304" y="1014"/>
                    <a:pt x="300" y="1011"/>
                    <a:pt x="298" y="1011"/>
                  </a:cubicBezTo>
                  <a:cubicBezTo>
                    <a:pt x="296" y="1012"/>
                    <a:pt x="303" y="1018"/>
                    <a:pt x="307" y="1020"/>
                  </a:cubicBezTo>
                  <a:cubicBezTo>
                    <a:pt x="309" y="1021"/>
                    <a:pt x="310" y="1021"/>
                    <a:pt x="310" y="1020"/>
                  </a:cubicBezTo>
                  <a:cubicBezTo>
                    <a:pt x="310" y="1019"/>
                    <a:pt x="309" y="1018"/>
                    <a:pt x="307" y="1017"/>
                  </a:cubicBezTo>
                  <a:close/>
                  <a:moveTo>
                    <a:pt x="257" y="982"/>
                  </a:moveTo>
                  <a:cubicBezTo>
                    <a:pt x="258" y="983"/>
                    <a:pt x="260" y="983"/>
                    <a:pt x="259" y="982"/>
                  </a:cubicBezTo>
                  <a:cubicBezTo>
                    <a:pt x="259" y="981"/>
                    <a:pt x="258" y="979"/>
                    <a:pt x="256" y="978"/>
                  </a:cubicBezTo>
                  <a:cubicBezTo>
                    <a:pt x="254" y="975"/>
                    <a:pt x="249" y="972"/>
                    <a:pt x="247" y="972"/>
                  </a:cubicBezTo>
                  <a:cubicBezTo>
                    <a:pt x="245" y="973"/>
                    <a:pt x="252" y="980"/>
                    <a:pt x="257" y="982"/>
                  </a:cubicBezTo>
                  <a:close/>
                  <a:moveTo>
                    <a:pt x="191" y="793"/>
                  </a:moveTo>
                  <a:cubicBezTo>
                    <a:pt x="191" y="793"/>
                    <a:pt x="191" y="793"/>
                    <a:pt x="191" y="792"/>
                  </a:cubicBezTo>
                  <a:cubicBezTo>
                    <a:pt x="190" y="789"/>
                    <a:pt x="186" y="784"/>
                    <a:pt x="182" y="784"/>
                  </a:cubicBezTo>
                  <a:cubicBezTo>
                    <a:pt x="177" y="785"/>
                    <a:pt x="180" y="795"/>
                    <a:pt x="186" y="798"/>
                  </a:cubicBezTo>
                  <a:cubicBezTo>
                    <a:pt x="190" y="801"/>
                    <a:pt x="192" y="798"/>
                    <a:pt x="191" y="793"/>
                  </a:cubicBezTo>
                  <a:close/>
                  <a:moveTo>
                    <a:pt x="179" y="818"/>
                  </a:moveTo>
                  <a:cubicBezTo>
                    <a:pt x="183" y="820"/>
                    <a:pt x="185" y="818"/>
                    <a:pt x="184" y="813"/>
                  </a:cubicBezTo>
                  <a:cubicBezTo>
                    <a:pt x="184" y="813"/>
                    <a:pt x="184" y="812"/>
                    <a:pt x="184" y="812"/>
                  </a:cubicBezTo>
                  <a:cubicBezTo>
                    <a:pt x="183" y="808"/>
                    <a:pt x="179" y="803"/>
                    <a:pt x="175" y="803"/>
                  </a:cubicBezTo>
                  <a:cubicBezTo>
                    <a:pt x="171" y="805"/>
                    <a:pt x="174" y="814"/>
                    <a:pt x="179" y="818"/>
                  </a:cubicBezTo>
                  <a:close/>
                  <a:moveTo>
                    <a:pt x="179" y="779"/>
                  </a:moveTo>
                  <a:cubicBezTo>
                    <a:pt x="183" y="781"/>
                    <a:pt x="186" y="779"/>
                    <a:pt x="185" y="774"/>
                  </a:cubicBezTo>
                  <a:cubicBezTo>
                    <a:pt x="185" y="773"/>
                    <a:pt x="185" y="773"/>
                    <a:pt x="185" y="773"/>
                  </a:cubicBezTo>
                  <a:cubicBezTo>
                    <a:pt x="184" y="769"/>
                    <a:pt x="180" y="764"/>
                    <a:pt x="176" y="764"/>
                  </a:cubicBezTo>
                  <a:cubicBezTo>
                    <a:pt x="171" y="765"/>
                    <a:pt x="173" y="775"/>
                    <a:pt x="179" y="779"/>
                  </a:cubicBezTo>
                  <a:close/>
                  <a:moveTo>
                    <a:pt x="168" y="784"/>
                  </a:moveTo>
                  <a:cubicBezTo>
                    <a:pt x="163" y="785"/>
                    <a:pt x="167" y="796"/>
                    <a:pt x="172" y="799"/>
                  </a:cubicBezTo>
                  <a:cubicBezTo>
                    <a:pt x="176" y="801"/>
                    <a:pt x="178" y="798"/>
                    <a:pt x="176" y="792"/>
                  </a:cubicBezTo>
                  <a:cubicBezTo>
                    <a:pt x="175" y="789"/>
                    <a:pt x="172" y="784"/>
                    <a:pt x="168" y="784"/>
                  </a:cubicBezTo>
                  <a:close/>
                  <a:moveTo>
                    <a:pt x="278" y="1021"/>
                  </a:moveTo>
                  <a:cubicBezTo>
                    <a:pt x="278" y="1021"/>
                    <a:pt x="277" y="1020"/>
                    <a:pt x="277" y="1019"/>
                  </a:cubicBezTo>
                  <a:cubicBezTo>
                    <a:pt x="276" y="1018"/>
                    <a:pt x="275" y="1018"/>
                    <a:pt x="273" y="1017"/>
                  </a:cubicBezTo>
                  <a:cubicBezTo>
                    <a:pt x="270" y="1014"/>
                    <a:pt x="266" y="1011"/>
                    <a:pt x="264" y="1011"/>
                  </a:cubicBezTo>
                  <a:cubicBezTo>
                    <a:pt x="263" y="1013"/>
                    <a:pt x="276" y="1021"/>
                    <a:pt x="278" y="1021"/>
                  </a:cubicBezTo>
                  <a:close/>
                  <a:moveTo>
                    <a:pt x="184" y="855"/>
                  </a:moveTo>
                  <a:cubicBezTo>
                    <a:pt x="187" y="857"/>
                    <a:pt x="189" y="854"/>
                    <a:pt x="188" y="850"/>
                  </a:cubicBezTo>
                  <a:cubicBezTo>
                    <a:pt x="187" y="850"/>
                    <a:pt x="187" y="849"/>
                    <a:pt x="187" y="849"/>
                  </a:cubicBezTo>
                  <a:cubicBezTo>
                    <a:pt x="186" y="846"/>
                    <a:pt x="182" y="841"/>
                    <a:pt x="178" y="841"/>
                  </a:cubicBezTo>
                  <a:cubicBezTo>
                    <a:pt x="174" y="842"/>
                    <a:pt x="179" y="852"/>
                    <a:pt x="184" y="855"/>
                  </a:cubicBezTo>
                  <a:close/>
                  <a:moveTo>
                    <a:pt x="175" y="837"/>
                  </a:moveTo>
                  <a:cubicBezTo>
                    <a:pt x="178" y="838"/>
                    <a:pt x="180" y="836"/>
                    <a:pt x="179" y="831"/>
                  </a:cubicBezTo>
                  <a:cubicBezTo>
                    <a:pt x="178" y="831"/>
                    <a:pt x="178" y="831"/>
                    <a:pt x="178" y="831"/>
                  </a:cubicBezTo>
                  <a:cubicBezTo>
                    <a:pt x="177" y="827"/>
                    <a:pt x="173" y="822"/>
                    <a:pt x="170" y="822"/>
                  </a:cubicBezTo>
                  <a:cubicBezTo>
                    <a:pt x="165" y="824"/>
                    <a:pt x="170" y="834"/>
                    <a:pt x="175" y="837"/>
                  </a:cubicBezTo>
                  <a:close/>
                  <a:moveTo>
                    <a:pt x="352" y="1062"/>
                  </a:moveTo>
                  <a:cubicBezTo>
                    <a:pt x="352" y="1062"/>
                    <a:pt x="350" y="1061"/>
                    <a:pt x="347" y="1059"/>
                  </a:cubicBezTo>
                  <a:cubicBezTo>
                    <a:pt x="344" y="1057"/>
                    <a:pt x="338" y="1055"/>
                    <a:pt x="337" y="1055"/>
                  </a:cubicBezTo>
                  <a:cubicBezTo>
                    <a:pt x="337" y="1055"/>
                    <a:pt x="337" y="1055"/>
                    <a:pt x="337" y="1055"/>
                  </a:cubicBezTo>
                  <a:cubicBezTo>
                    <a:pt x="337" y="1056"/>
                    <a:pt x="350" y="1063"/>
                    <a:pt x="352" y="1062"/>
                  </a:cubicBezTo>
                  <a:close/>
                  <a:moveTo>
                    <a:pt x="163" y="837"/>
                  </a:moveTo>
                  <a:cubicBezTo>
                    <a:pt x="166" y="838"/>
                    <a:pt x="167" y="836"/>
                    <a:pt x="166" y="832"/>
                  </a:cubicBezTo>
                  <a:cubicBezTo>
                    <a:pt x="166" y="832"/>
                    <a:pt x="166" y="831"/>
                    <a:pt x="166" y="831"/>
                  </a:cubicBezTo>
                  <a:cubicBezTo>
                    <a:pt x="164" y="827"/>
                    <a:pt x="160" y="822"/>
                    <a:pt x="157" y="822"/>
                  </a:cubicBezTo>
                  <a:cubicBezTo>
                    <a:pt x="153" y="824"/>
                    <a:pt x="158" y="834"/>
                    <a:pt x="163" y="837"/>
                  </a:cubicBezTo>
                  <a:close/>
                  <a:moveTo>
                    <a:pt x="286" y="1008"/>
                  </a:moveTo>
                  <a:cubicBezTo>
                    <a:pt x="287" y="1009"/>
                    <a:pt x="288" y="1009"/>
                    <a:pt x="288" y="1008"/>
                  </a:cubicBezTo>
                  <a:cubicBezTo>
                    <a:pt x="287" y="1007"/>
                    <a:pt x="286" y="1006"/>
                    <a:pt x="285" y="1004"/>
                  </a:cubicBezTo>
                  <a:cubicBezTo>
                    <a:pt x="282" y="1002"/>
                    <a:pt x="277" y="999"/>
                    <a:pt x="275" y="999"/>
                  </a:cubicBezTo>
                  <a:cubicBezTo>
                    <a:pt x="273" y="1000"/>
                    <a:pt x="281" y="1007"/>
                    <a:pt x="286" y="1008"/>
                  </a:cubicBezTo>
                  <a:close/>
                  <a:moveTo>
                    <a:pt x="411" y="631"/>
                  </a:moveTo>
                  <a:cubicBezTo>
                    <a:pt x="416" y="635"/>
                    <a:pt x="423" y="631"/>
                    <a:pt x="424" y="625"/>
                  </a:cubicBezTo>
                  <a:cubicBezTo>
                    <a:pt x="424" y="620"/>
                    <a:pt x="421" y="615"/>
                    <a:pt x="414" y="615"/>
                  </a:cubicBezTo>
                  <a:cubicBezTo>
                    <a:pt x="406" y="616"/>
                    <a:pt x="405" y="627"/>
                    <a:pt x="411" y="631"/>
                  </a:cubicBezTo>
                  <a:close/>
                  <a:moveTo>
                    <a:pt x="271" y="996"/>
                  </a:moveTo>
                  <a:cubicBezTo>
                    <a:pt x="272" y="996"/>
                    <a:pt x="274" y="996"/>
                    <a:pt x="273" y="995"/>
                  </a:cubicBezTo>
                  <a:cubicBezTo>
                    <a:pt x="273" y="994"/>
                    <a:pt x="272" y="993"/>
                    <a:pt x="270" y="991"/>
                  </a:cubicBezTo>
                  <a:cubicBezTo>
                    <a:pt x="268" y="989"/>
                    <a:pt x="263" y="985"/>
                    <a:pt x="261" y="986"/>
                  </a:cubicBezTo>
                  <a:cubicBezTo>
                    <a:pt x="259" y="987"/>
                    <a:pt x="266" y="994"/>
                    <a:pt x="271" y="996"/>
                  </a:cubicBezTo>
                  <a:close/>
                  <a:moveTo>
                    <a:pt x="265" y="982"/>
                  </a:moveTo>
                  <a:cubicBezTo>
                    <a:pt x="267" y="983"/>
                    <a:pt x="268" y="983"/>
                    <a:pt x="268" y="981"/>
                  </a:cubicBezTo>
                  <a:cubicBezTo>
                    <a:pt x="267" y="981"/>
                    <a:pt x="267" y="980"/>
                    <a:pt x="265" y="978"/>
                  </a:cubicBezTo>
                  <a:cubicBezTo>
                    <a:pt x="263" y="975"/>
                    <a:pt x="259" y="972"/>
                    <a:pt x="256" y="972"/>
                  </a:cubicBezTo>
                  <a:cubicBezTo>
                    <a:pt x="254" y="973"/>
                    <a:pt x="260" y="980"/>
                    <a:pt x="265" y="982"/>
                  </a:cubicBezTo>
                  <a:close/>
                  <a:moveTo>
                    <a:pt x="281" y="995"/>
                  </a:moveTo>
                  <a:cubicBezTo>
                    <a:pt x="281" y="994"/>
                    <a:pt x="280" y="993"/>
                    <a:pt x="279" y="991"/>
                  </a:cubicBezTo>
                  <a:cubicBezTo>
                    <a:pt x="276" y="989"/>
                    <a:pt x="272" y="985"/>
                    <a:pt x="270" y="986"/>
                  </a:cubicBezTo>
                  <a:cubicBezTo>
                    <a:pt x="267" y="987"/>
                    <a:pt x="274" y="993"/>
                    <a:pt x="279" y="995"/>
                  </a:cubicBezTo>
                  <a:cubicBezTo>
                    <a:pt x="281" y="996"/>
                    <a:pt x="282" y="996"/>
                    <a:pt x="281" y="995"/>
                  </a:cubicBezTo>
                  <a:close/>
                  <a:moveTo>
                    <a:pt x="364" y="1068"/>
                  </a:moveTo>
                  <a:cubicBezTo>
                    <a:pt x="361" y="1066"/>
                    <a:pt x="356" y="1064"/>
                    <a:pt x="355" y="1064"/>
                  </a:cubicBezTo>
                  <a:cubicBezTo>
                    <a:pt x="355" y="1065"/>
                    <a:pt x="369" y="1071"/>
                    <a:pt x="370" y="1071"/>
                  </a:cubicBezTo>
                  <a:cubicBezTo>
                    <a:pt x="370" y="1070"/>
                    <a:pt x="368" y="1070"/>
                    <a:pt x="364" y="1068"/>
                  </a:cubicBezTo>
                  <a:close/>
                  <a:moveTo>
                    <a:pt x="366" y="1071"/>
                  </a:moveTo>
                  <a:cubicBezTo>
                    <a:pt x="366" y="1071"/>
                    <a:pt x="366" y="1070"/>
                    <a:pt x="361" y="1068"/>
                  </a:cubicBezTo>
                  <a:cubicBezTo>
                    <a:pt x="357" y="1066"/>
                    <a:pt x="352" y="1064"/>
                    <a:pt x="351" y="1064"/>
                  </a:cubicBezTo>
                  <a:cubicBezTo>
                    <a:pt x="351" y="1065"/>
                    <a:pt x="365" y="1071"/>
                    <a:pt x="366" y="1071"/>
                  </a:cubicBezTo>
                  <a:close/>
                  <a:moveTo>
                    <a:pt x="385" y="1079"/>
                  </a:moveTo>
                  <a:cubicBezTo>
                    <a:pt x="385" y="1079"/>
                    <a:pt x="384" y="1078"/>
                    <a:pt x="379" y="1076"/>
                  </a:cubicBezTo>
                  <a:cubicBezTo>
                    <a:pt x="376" y="1075"/>
                    <a:pt x="370" y="1072"/>
                    <a:pt x="370" y="1073"/>
                  </a:cubicBezTo>
                  <a:cubicBezTo>
                    <a:pt x="370" y="1074"/>
                    <a:pt x="384" y="1079"/>
                    <a:pt x="385" y="1079"/>
                  </a:cubicBezTo>
                  <a:close/>
                  <a:moveTo>
                    <a:pt x="400" y="625"/>
                  </a:moveTo>
                  <a:cubicBezTo>
                    <a:pt x="400" y="620"/>
                    <a:pt x="397" y="615"/>
                    <a:pt x="390" y="615"/>
                  </a:cubicBezTo>
                  <a:cubicBezTo>
                    <a:pt x="382" y="616"/>
                    <a:pt x="381" y="627"/>
                    <a:pt x="387" y="631"/>
                  </a:cubicBezTo>
                  <a:cubicBezTo>
                    <a:pt x="393" y="635"/>
                    <a:pt x="399" y="631"/>
                    <a:pt x="400" y="625"/>
                  </a:cubicBezTo>
                  <a:close/>
                  <a:moveTo>
                    <a:pt x="295" y="1008"/>
                  </a:moveTo>
                  <a:cubicBezTo>
                    <a:pt x="295" y="1007"/>
                    <a:pt x="294" y="1006"/>
                    <a:pt x="293" y="1004"/>
                  </a:cubicBezTo>
                  <a:cubicBezTo>
                    <a:pt x="290" y="1002"/>
                    <a:pt x="286" y="999"/>
                    <a:pt x="283" y="999"/>
                  </a:cubicBezTo>
                  <a:cubicBezTo>
                    <a:pt x="281" y="1000"/>
                    <a:pt x="288" y="1006"/>
                    <a:pt x="293" y="1008"/>
                  </a:cubicBezTo>
                  <a:cubicBezTo>
                    <a:pt x="295" y="1009"/>
                    <a:pt x="296" y="1009"/>
                    <a:pt x="295" y="1008"/>
                  </a:cubicBezTo>
                  <a:close/>
                  <a:moveTo>
                    <a:pt x="383" y="1076"/>
                  </a:moveTo>
                  <a:cubicBezTo>
                    <a:pt x="380" y="1075"/>
                    <a:pt x="374" y="1072"/>
                    <a:pt x="373" y="1073"/>
                  </a:cubicBezTo>
                  <a:cubicBezTo>
                    <a:pt x="374" y="1074"/>
                    <a:pt x="387" y="1079"/>
                    <a:pt x="388" y="1079"/>
                  </a:cubicBezTo>
                  <a:cubicBezTo>
                    <a:pt x="388" y="1079"/>
                    <a:pt x="388" y="1078"/>
                    <a:pt x="383" y="1076"/>
                  </a:cubicBezTo>
                  <a:close/>
                  <a:moveTo>
                    <a:pt x="152" y="837"/>
                  </a:moveTo>
                  <a:cubicBezTo>
                    <a:pt x="155" y="838"/>
                    <a:pt x="156" y="836"/>
                    <a:pt x="154" y="831"/>
                  </a:cubicBezTo>
                  <a:cubicBezTo>
                    <a:pt x="154" y="831"/>
                    <a:pt x="154" y="831"/>
                    <a:pt x="154" y="831"/>
                  </a:cubicBezTo>
                  <a:cubicBezTo>
                    <a:pt x="152" y="827"/>
                    <a:pt x="148" y="822"/>
                    <a:pt x="145" y="822"/>
                  </a:cubicBezTo>
                  <a:cubicBezTo>
                    <a:pt x="141" y="824"/>
                    <a:pt x="147" y="835"/>
                    <a:pt x="152" y="837"/>
                  </a:cubicBezTo>
                  <a:close/>
                  <a:moveTo>
                    <a:pt x="826" y="659"/>
                  </a:moveTo>
                  <a:cubicBezTo>
                    <a:pt x="818" y="661"/>
                    <a:pt x="816" y="672"/>
                    <a:pt x="821" y="675"/>
                  </a:cubicBezTo>
                  <a:cubicBezTo>
                    <a:pt x="825" y="678"/>
                    <a:pt x="831" y="675"/>
                    <a:pt x="833" y="669"/>
                  </a:cubicBezTo>
                  <a:cubicBezTo>
                    <a:pt x="833" y="664"/>
                    <a:pt x="831" y="659"/>
                    <a:pt x="826" y="659"/>
                  </a:cubicBezTo>
                  <a:close/>
                  <a:moveTo>
                    <a:pt x="908" y="637"/>
                  </a:moveTo>
                  <a:cubicBezTo>
                    <a:pt x="900" y="639"/>
                    <a:pt x="899" y="651"/>
                    <a:pt x="904" y="654"/>
                  </a:cubicBezTo>
                  <a:cubicBezTo>
                    <a:pt x="908" y="656"/>
                    <a:pt x="913" y="653"/>
                    <a:pt x="914" y="647"/>
                  </a:cubicBezTo>
                  <a:cubicBezTo>
                    <a:pt x="915" y="643"/>
                    <a:pt x="913" y="637"/>
                    <a:pt x="908" y="637"/>
                  </a:cubicBezTo>
                  <a:close/>
                  <a:moveTo>
                    <a:pt x="634" y="738"/>
                  </a:moveTo>
                  <a:cubicBezTo>
                    <a:pt x="639" y="742"/>
                    <a:pt x="647" y="738"/>
                    <a:pt x="648" y="732"/>
                  </a:cubicBezTo>
                  <a:cubicBezTo>
                    <a:pt x="648" y="728"/>
                    <a:pt x="646" y="723"/>
                    <a:pt x="639" y="723"/>
                  </a:cubicBezTo>
                  <a:cubicBezTo>
                    <a:pt x="631" y="724"/>
                    <a:pt x="629" y="734"/>
                    <a:pt x="634" y="738"/>
                  </a:cubicBezTo>
                  <a:close/>
                  <a:moveTo>
                    <a:pt x="635" y="717"/>
                  </a:moveTo>
                  <a:cubicBezTo>
                    <a:pt x="641" y="721"/>
                    <a:pt x="648" y="718"/>
                    <a:pt x="649" y="711"/>
                  </a:cubicBezTo>
                  <a:cubicBezTo>
                    <a:pt x="649" y="707"/>
                    <a:pt x="647" y="702"/>
                    <a:pt x="640" y="702"/>
                  </a:cubicBezTo>
                  <a:cubicBezTo>
                    <a:pt x="631" y="703"/>
                    <a:pt x="630" y="713"/>
                    <a:pt x="635" y="717"/>
                  </a:cubicBezTo>
                  <a:close/>
                  <a:moveTo>
                    <a:pt x="636" y="696"/>
                  </a:moveTo>
                  <a:cubicBezTo>
                    <a:pt x="641" y="700"/>
                    <a:pt x="649" y="696"/>
                    <a:pt x="650" y="690"/>
                  </a:cubicBezTo>
                  <a:cubicBezTo>
                    <a:pt x="650" y="686"/>
                    <a:pt x="648" y="681"/>
                    <a:pt x="641" y="681"/>
                  </a:cubicBezTo>
                  <a:cubicBezTo>
                    <a:pt x="632" y="682"/>
                    <a:pt x="630" y="692"/>
                    <a:pt x="636" y="696"/>
                  </a:cubicBezTo>
                  <a:close/>
                  <a:moveTo>
                    <a:pt x="632" y="778"/>
                  </a:moveTo>
                  <a:cubicBezTo>
                    <a:pt x="637" y="782"/>
                    <a:pt x="644" y="779"/>
                    <a:pt x="645" y="773"/>
                  </a:cubicBezTo>
                  <a:cubicBezTo>
                    <a:pt x="646" y="769"/>
                    <a:pt x="643" y="764"/>
                    <a:pt x="637" y="764"/>
                  </a:cubicBezTo>
                  <a:cubicBezTo>
                    <a:pt x="629" y="765"/>
                    <a:pt x="627" y="775"/>
                    <a:pt x="632" y="778"/>
                  </a:cubicBezTo>
                  <a:close/>
                  <a:moveTo>
                    <a:pt x="288" y="1021"/>
                  </a:moveTo>
                  <a:cubicBezTo>
                    <a:pt x="289" y="1021"/>
                    <a:pt x="289" y="1021"/>
                    <a:pt x="289" y="1020"/>
                  </a:cubicBezTo>
                  <a:cubicBezTo>
                    <a:pt x="289" y="1020"/>
                    <a:pt x="287" y="1018"/>
                    <a:pt x="285" y="1017"/>
                  </a:cubicBezTo>
                  <a:cubicBezTo>
                    <a:pt x="282" y="1014"/>
                    <a:pt x="278" y="1011"/>
                    <a:pt x="276" y="1011"/>
                  </a:cubicBezTo>
                  <a:cubicBezTo>
                    <a:pt x="274" y="1012"/>
                    <a:pt x="285" y="1020"/>
                    <a:pt x="288" y="1021"/>
                  </a:cubicBezTo>
                  <a:close/>
                  <a:moveTo>
                    <a:pt x="631" y="798"/>
                  </a:moveTo>
                  <a:cubicBezTo>
                    <a:pt x="636" y="801"/>
                    <a:pt x="643" y="798"/>
                    <a:pt x="644" y="792"/>
                  </a:cubicBezTo>
                  <a:cubicBezTo>
                    <a:pt x="644" y="789"/>
                    <a:pt x="642" y="784"/>
                    <a:pt x="636" y="784"/>
                  </a:cubicBezTo>
                  <a:cubicBezTo>
                    <a:pt x="627" y="785"/>
                    <a:pt x="626" y="794"/>
                    <a:pt x="631" y="798"/>
                  </a:cubicBezTo>
                  <a:close/>
                  <a:moveTo>
                    <a:pt x="784" y="637"/>
                  </a:moveTo>
                  <a:cubicBezTo>
                    <a:pt x="776" y="639"/>
                    <a:pt x="774" y="650"/>
                    <a:pt x="780" y="654"/>
                  </a:cubicBezTo>
                  <a:cubicBezTo>
                    <a:pt x="784" y="657"/>
                    <a:pt x="791" y="653"/>
                    <a:pt x="792" y="647"/>
                  </a:cubicBezTo>
                  <a:cubicBezTo>
                    <a:pt x="792" y="643"/>
                    <a:pt x="790" y="637"/>
                    <a:pt x="784" y="637"/>
                  </a:cubicBezTo>
                  <a:close/>
                  <a:moveTo>
                    <a:pt x="633" y="758"/>
                  </a:moveTo>
                  <a:cubicBezTo>
                    <a:pt x="638" y="762"/>
                    <a:pt x="645" y="759"/>
                    <a:pt x="646" y="753"/>
                  </a:cubicBezTo>
                  <a:cubicBezTo>
                    <a:pt x="647" y="749"/>
                    <a:pt x="645" y="743"/>
                    <a:pt x="638" y="744"/>
                  </a:cubicBezTo>
                  <a:cubicBezTo>
                    <a:pt x="630" y="745"/>
                    <a:pt x="628" y="755"/>
                    <a:pt x="633" y="758"/>
                  </a:cubicBezTo>
                  <a:close/>
                  <a:moveTo>
                    <a:pt x="761" y="732"/>
                  </a:moveTo>
                  <a:cubicBezTo>
                    <a:pt x="762" y="728"/>
                    <a:pt x="760" y="723"/>
                    <a:pt x="754" y="723"/>
                  </a:cubicBezTo>
                  <a:cubicBezTo>
                    <a:pt x="746" y="724"/>
                    <a:pt x="744" y="734"/>
                    <a:pt x="749" y="738"/>
                  </a:cubicBezTo>
                  <a:cubicBezTo>
                    <a:pt x="753" y="742"/>
                    <a:pt x="760" y="738"/>
                    <a:pt x="761" y="732"/>
                  </a:cubicBezTo>
                  <a:close/>
                  <a:moveTo>
                    <a:pt x="738" y="637"/>
                  </a:moveTo>
                  <a:cubicBezTo>
                    <a:pt x="730" y="639"/>
                    <a:pt x="728" y="649"/>
                    <a:pt x="734" y="653"/>
                  </a:cubicBezTo>
                  <a:cubicBezTo>
                    <a:pt x="738" y="657"/>
                    <a:pt x="746" y="653"/>
                    <a:pt x="747" y="647"/>
                  </a:cubicBezTo>
                  <a:cubicBezTo>
                    <a:pt x="747" y="643"/>
                    <a:pt x="745" y="637"/>
                    <a:pt x="738" y="637"/>
                  </a:cubicBezTo>
                  <a:close/>
                  <a:moveTo>
                    <a:pt x="745" y="669"/>
                  </a:moveTo>
                  <a:cubicBezTo>
                    <a:pt x="746" y="664"/>
                    <a:pt x="743" y="659"/>
                    <a:pt x="737" y="659"/>
                  </a:cubicBezTo>
                  <a:cubicBezTo>
                    <a:pt x="729" y="661"/>
                    <a:pt x="727" y="671"/>
                    <a:pt x="732" y="675"/>
                  </a:cubicBezTo>
                  <a:cubicBezTo>
                    <a:pt x="737" y="678"/>
                    <a:pt x="744" y="675"/>
                    <a:pt x="745" y="669"/>
                  </a:cubicBezTo>
                  <a:close/>
                  <a:moveTo>
                    <a:pt x="756" y="702"/>
                  </a:moveTo>
                  <a:cubicBezTo>
                    <a:pt x="748" y="703"/>
                    <a:pt x="746" y="713"/>
                    <a:pt x="751" y="717"/>
                  </a:cubicBezTo>
                  <a:cubicBezTo>
                    <a:pt x="756" y="721"/>
                    <a:pt x="762" y="718"/>
                    <a:pt x="764" y="711"/>
                  </a:cubicBezTo>
                  <a:cubicBezTo>
                    <a:pt x="764" y="707"/>
                    <a:pt x="762" y="702"/>
                    <a:pt x="756" y="702"/>
                  </a:cubicBezTo>
                  <a:close/>
                  <a:moveTo>
                    <a:pt x="758" y="681"/>
                  </a:moveTo>
                  <a:cubicBezTo>
                    <a:pt x="750" y="682"/>
                    <a:pt x="748" y="692"/>
                    <a:pt x="753" y="696"/>
                  </a:cubicBezTo>
                  <a:cubicBezTo>
                    <a:pt x="758" y="700"/>
                    <a:pt x="765" y="697"/>
                    <a:pt x="766" y="690"/>
                  </a:cubicBezTo>
                  <a:cubicBezTo>
                    <a:pt x="767" y="686"/>
                    <a:pt x="764" y="681"/>
                    <a:pt x="758" y="681"/>
                  </a:cubicBezTo>
                  <a:close/>
                  <a:moveTo>
                    <a:pt x="761" y="637"/>
                  </a:moveTo>
                  <a:cubicBezTo>
                    <a:pt x="753" y="639"/>
                    <a:pt x="751" y="649"/>
                    <a:pt x="757" y="653"/>
                  </a:cubicBezTo>
                  <a:cubicBezTo>
                    <a:pt x="761" y="657"/>
                    <a:pt x="768" y="653"/>
                    <a:pt x="769" y="647"/>
                  </a:cubicBezTo>
                  <a:cubicBezTo>
                    <a:pt x="770" y="643"/>
                    <a:pt x="768" y="637"/>
                    <a:pt x="761" y="637"/>
                  </a:cubicBezTo>
                  <a:close/>
                  <a:moveTo>
                    <a:pt x="760" y="659"/>
                  </a:moveTo>
                  <a:cubicBezTo>
                    <a:pt x="752" y="661"/>
                    <a:pt x="750" y="671"/>
                    <a:pt x="755" y="675"/>
                  </a:cubicBezTo>
                  <a:cubicBezTo>
                    <a:pt x="760" y="679"/>
                    <a:pt x="767" y="675"/>
                    <a:pt x="768" y="669"/>
                  </a:cubicBezTo>
                  <a:cubicBezTo>
                    <a:pt x="768" y="664"/>
                    <a:pt x="766" y="659"/>
                    <a:pt x="760" y="659"/>
                  </a:cubicBezTo>
                  <a:close/>
                  <a:moveTo>
                    <a:pt x="778" y="675"/>
                  </a:moveTo>
                  <a:cubicBezTo>
                    <a:pt x="783" y="678"/>
                    <a:pt x="789" y="675"/>
                    <a:pt x="790" y="669"/>
                  </a:cubicBezTo>
                  <a:cubicBezTo>
                    <a:pt x="791" y="664"/>
                    <a:pt x="788" y="659"/>
                    <a:pt x="782" y="659"/>
                  </a:cubicBezTo>
                  <a:cubicBezTo>
                    <a:pt x="774" y="661"/>
                    <a:pt x="772" y="672"/>
                    <a:pt x="778" y="675"/>
                  </a:cubicBezTo>
                  <a:close/>
                  <a:moveTo>
                    <a:pt x="243" y="968"/>
                  </a:moveTo>
                  <a:cubicBezTo>
                    <a:pt x="245" y="969"/>
                    <a:pt x="246" y="969"/>
                    <a:pt x="245" y="967"/>
                  </a:cubicBezTo>
                  <a:cubicBezTo>
                    <a:pt x="245" y="967"/>
                    <a:pt x="245" y="966"/>
                    <a:pt x="243" y="964"/>
                  </a:cubicBezTo>
                  <a:cubicBezTo>
                    <a:pt x="241" y="961"/>
                    <a:pt x="236" y="957"/>
                    <a:pt x="234" y="957"/>
                  </a:cubicBezTo>
                  <a:cubicBezTo>
                    <a:pt x="231" y="958"/>
                    <a:pt x="239" y="966"/>
                    <a:pt x="243" y="968"/>
                  </a:cubicBezTo>
                  <a:close/>
                  <a:moveTo>
                    <a:pt x="715" y="637"/>
                  </a:moveTo>
                  <a:cubicBezTo>
                    <a:pt x="706" y="639"/>
                    <a:pt x="705" y="649"/>
                    <a:pt x="710" y="653"/>
                  </a:cubicBezTo>
                  <a:cubicBezTo>
                    <a:pt x="715" y="657"/>
                    <a:pt x="722" y="653"/>
                    <a:pt x="723" y="647"/>
                  </a:cubicBezTo>
                  <a:cubicBezTo>
                    <a:pt x="724" y="643"/>
                    <a:pt x="721" y="637"/>
                    <a:pt x="715" y="637"/>
                  </a:cubicBezTo>
                  <a:close/>
                  <a:moveTo>
                    <a:pt x="838" y="723"/>
                  </a:moveTo>
                  <a:cubicBezTo>
                    <a:pt x="830" y="724"/>
                    <a:pt x="828" y="735"/>
                    <a:pt x="833" y="739"/>
                  </a:cubicBezTo>
                  <a:cubicBezTo>
                    <a:pt x="836" y="741"/>
                    <a:pt x="842" y="738"/>
                    <a:pt x="844" y="732"/>
                  </a:cubicBezTo>
                  <a:cubicBezTo>
                    <a:pt x="845" y="728"/>
                    <a:pt x="843" y="723"/>
                    <a:pt x="838" y="723"/>
                  </a:cubicBezTo>
                  <a:close/>
                  <a:moveTo>
                    <a:pt x="249" y="983"/>
                  </a:moveTo>
                  <a:cubicBezTo>
                    <a:pt x="251" y="983"/>
                    <a:pt x="251" y="983"/>
                    <a:pt x="251" y="982"/>
                  </a:cubicBezTo>
                  <a:cubicBezTo>
                    <a:pt x="250" y="981"/>
                    <a:pt x="249" y="979"/>
                    <a:pt x="248" y="978"/>
                  </a:cubicBezTo>
                  <a:cubicBezTo>
                    <a:pt x="246" y="975"/>
                    <a:pt x="241" y="972"/>
                    <a:pt x="239" y="972"/>
                  </a:cubicBezTo>
                  <a:cubicBezTo>
                    <a:pt x="237" y="973"/>
                    <a:pt x="245" y="981"/>
                    <a:pt x="249" y="983"/>
                  </a:cubicBezTo>
                  <a:close/>
                  <a:moveTo>
                    <a:pt x="230" y="954"/>
                  </a:moveTo>
                  <a:cubicBezTo>
                    <a:pt x="232" y="955"/>
                    <a:pt x="233" y="954"/>
                    <a:pt x="232" y="953"/>
                  </a:cubicBezTo>
                  <a:cubicBezTo>
                    <a:pt x="232" y="952"/>
                    <a:pt x="232" y="951"/>
                    <a:pt x="230" y="949"/>
                  </a:cubicBezTo>
                  <a:cubicBezTo>
                    <a:pt x="228" y="946"/>
                    <a:pt x="223" y="942"/>
                    <a:pt x="221" y="942"/>
                  </a:cubicBezTo>
                  <a:cubicBezTo>
                    <a:pt x="218" y="943"/>
                    <a:pt x="225" y="952"/>
                    <a:pt x="230" y="954"/>
                  </a:cubicBezTo>
                  <a:close/>
                  <a:moveTo>
                    <a:pt x="235" y="969"/>
                  </a:moveTo>
                  <a:cubicBezTo>
                    <a:pt x="237" y="969"/>
                    <a:pt x="237" y="969"/>
                    <a:pt x="237" y="967"/>
                  </a:cubicBezTo>
                  <a:cubicBezTo>
                    <a:pt x="237" y="967"/>
                    <a:pt x="236" y="966"/>
                    <a:pt x="234" y="964"/>
                  </a:cubicBezTo>
                  <a:cubicBezTo>
                    <a:pt x="232" y="961"/>
                    <a:pt x="227" y="957"/>
                    <a:pt x="225" y="957"/>
                  </a:cubicBezTo>
                  <a:cubicBezTo>
                    <a:pt x="223" y="958"/>
                    <a:pt x="231" y="967"/>
                    <a:pt x="235" y="969"/>
                  </a:cubicBezTo>
                  <a:close/>
                  <a:moveTo>
                    <a:pt x="222" y="954"/>
                  </a:moveTo>
                  <a:cubicBezTo>
                    <a:pt x="223" y="955"/>
                    <a:pt x="224" y="954"/>
                    <a:pt x="223" y="952"/>
                  </a:cubicBezTo>
                  <a:cubicBezTo>
                    <a:pt x="223" y="952"/>
                    <a:pt x="222" y="950"/>
                    <a:pt x="221" y="949"/>
                  </a:cubicBezTo>
                  <a:cubicBezTo>
                    <a:pt x="219" y="946"/>
                    <a:pt x="214" y="942"/>
                    <a:pt x="212" y="942"/>
                  </a:cubicBezTo>
                  <a:cubicBezTo>
                    <a:pt x="209" y="943"/>
                    <a:pt x="217" y="952"/>
                    <a:pt x="222" y="954"/>
                  </a:cubicBezTo>
                  <a:close/>
                  <a:moveTo>
                    <a:pt x="707" y="812"/>
                  </a:moveTo>
                  <a:cubicBezTo>
                    <a:pt x="708" y="807"/>
                    <a:pt x="706" y="803"/>
                    <a:pt x="700" y="803"/>
                  </a:cubicBezTo>
                  <a:cubicBezTo>
                    <a:pt x="692" y="805"/>
                    <a:pt x="690" y="814"/>
                    <a:pt x="695" y="817"/>
                  </a:cubicBezTo>
                  <a:cubicBezTo>
                    <a:pt x="699" y="820"/>
                    <a:pt x="705" y="817"/>
                    <a:pt x="707" y="812"/>
                  </a:cubicBezTo>
                  <a:close/>
                  <a:moveTo>
                    <a:pt x="217" y="939"/>
                  </a:moveTo>
                  <a:cubicBezTo>
                    <a:pt x="219" y="940"/>
                    <a:pt x="220" y="939"/>
                    <a:pt x="219" y="937"/>
                  </a:cubicBezTo>
                  <a:cubicBezTo>
                    <a:pt x="219" y="936"/>
                    <a:pt x="219" y="935"/>
                    <a:pt x="218" y="934"/>
                  </a:cubicBezTo>
                  <a:cubicBezTo>
                    <a:pt x="216" y="931"/>
                    <a:pt x="211" y="927"/>
                    <a:pt x="209" y="927"/>
                  </a:cubicBezTo>
                  <a:cubicBezTo>
                    <a:pt x="206" y="928"/>
                    <a:pt x="212" y="936"/>
                    <a:pt x="217" y="939"/>
                  </a:cubicBezTo>
                  <a:close/>
                  <a:moveTo>
                    <a:pt x="886" y="659"/>
                  </a:moveTo>
                  <a:cubicBezTo>
                    <a:pt x="879" y="661"/>
                    <a:pt x="877" y="672"/>
                    <a:pt x="882" y="675"/>
                  </a:cubicBezTo>
                  <a:cubicBezTo>
                    <a:pt x="886" y="678"/>
                    <a:pt x="891" y="675"/>
                    <a:pt x="892" y="669"/>
                  </a:cubicBezTo>
                  <a:cubicBezTo>
                    <a:pt x="893" y="664"/>
                    <a:pt x="892" y="659"/>
                    <a:pt x="886" y="659"/>
                  </a:cubicBezTo>
                  <a:close/>
                  <a:moveTo>
                    <a:pt x="884" y="681"/>
                  </a:moveTo>
                  <a:cubicBezTo>
                    <a:pt x="876" y="682"/>
                    <a:pt x="874" y="694"/>
                    <a:pt x="879" y="697"/>
                  </a:cubicBezTo>
                  <a:cubicBezTo>
                    <a:pt x="883" y="699"/>
                    <a:pt x="888" y="696"/>
                    <a:pt x="889" y="690"/>
                  </a:cubicBezTo>
                  <a:cubicBezTo>
                    <a:pt x="890" y="686"/>
                    <a:pt x="889" y="681"/>
                    <a:pt x="884" y="681"/>
                  </a:cubicBezTo>
                  <a:close/>
                  <a:moveTo>
                    <a:pt x="905" y="659"/>
                  </a:moveTo>
                  <a:cubicBezTo>
                    <a:pt x="898" y="661"/>
                    <a:pt x="896" y="673"/>
                    <a:pt x="901" y="676"/>
                  </a:cubicBezTo>
                  <a:cubicBezTo>
                    <a:pt x="905" y="678"/>
                    <a:pt x="910" y="674"/>
                    <a:pt x="911" y="669"/>
                  </a:cubicBezTo>
                  <a:cubicBezTo>
                    <a:pt x="912" y="664"/>
                    <a:pt x="910" y="659"/>
                    <a:pt x="905" y="659"/>
                  </a:cubicBezTo>
                  <a:close/>
                  <a:moveTo>
                    <a:pt x="280" y="1008"/>
                  </a:moveTo>
                  <a:cubicBezTo>
                    <a:pt x="280" y="1007"/>
                    <a:pt x="279" y="1006"/>
                    <a:pt x="277" y="1004"/>
                  </a:cubicBezTo>
                  <a:cubicBezTo>
                    <a:pt x="274" y="1002"/>
                    <a:pt x="270" y="999"/>
                    <a:pt x="268" y="999"/>
                  </a:cubicBezTo>
                  <a:cubicBezTo>
                    <a:pt x="266" y="1000"/>
                    <a:pt x="275" y="1007"/>
                    <a:pt x="279" y="1009"/>
                  </a:cubicBezTo>
                  <a:cubicBezTo>
                    <a:pt x="280" y="1009"/>
                    <a:pt x="281" y="1009"/>
                    <a:pt x="280" y="1008"/>
                  </a:cubicBezTo>
                  <a:close/>
                  <a:moveTo>
                    <a:pt x="841" y="702"/>
                  </a:moveTo>
                  <a:cubicBezTo>
                    <a:pt x="834" y="704"/>
                    <a:pt x="831" y="714"/>
                    <a:pt x="836" y="718"/>
                  </a:cubicBezTo>
                  <a:cubicBezTo>
                    <a:pt x="840" y="721"/>
                    <a:pt x="846" y="717"/>
                    <a:pt x="847" y="711"/>
                  </a:cubicBezTo>
                  <a:cubicBezTo>
                    <a:pt x="848" y="707"/>
                    <a:pt x="847" y="702"/>
                    <a:pt x="841" y="702"/>
                  </a:cubicBezTo>
                  <a:close/>
                  <a:moveTo>
                    <a:pt x="880" y="702"/>
                  </a:moveTo>
                  <a:cubicBezTo>
                    <a:pt x="873" y="704"/>
                    <a:pt x="871" y="714"/>
                    <a:pt x="875" y="718"/>
                  </a:cubicBezTo>
                  <a:cubicBezTo>
                    <a:pt x="879" y="721"/>
                    <a:pt x="884" y="717"/>
                    <a:pt x="886" y="711"/>
                  </a:cubicBezTo>
                  <a:cubicBezTo>
                    <a:pt x="887" y="707"/>
                    <a:pt x="886" y="702"/>
                    <a:pt x="880" y="702"/>
                  </a:cubicBezTo>
                  <a:close/>
                  <a:moveTo>
                    <a:pt x="257" y="996"/>
                  </a:moveTo>
                  <a:cubicBezTo>
                    <a:pt x="258" y="996"/>
                    <a:pt x="258" y="996"/>
                    <a:pt x="258" y="995"/>
                  </a:cubicBezTo>
                  <a:cubicBezTo>
                    <a:pt x="257" y="994"/>
                    <a:pt x="256" y="993"/>
                    <a:pt x="255" y="991"/>
                  </a:cubicBezTo>
                  <a:cubicBezTo>
                    <a:pt x="252" y="989"/>
                    <a:pt x="247" y="985"/>
                    <a:pt x="246" y="986"/>
                  </a:cubicBezTo>
                  <a:cubicBezTo>
                    <a:pt x="244" y="987"/>
                    <a:pt x="254" y="995"/>
                    <a:pt x="257" y="996"/>
                  </a:cubicBezTo>
                  <a:close/>
                  <a:moveTo>
                    <a:pt x="204" y="803"/>
                  </a:moveTo>
                  <a:cubicBezTo>
                    <a:pt x="199" y="805"/>
                    <a:pt x="202" y="814"/>
                    <a:pt x="208" y="818"/>
                  </a:cubicBezTo>
                  <a:cubicBezTo>
                    <a:pt x="212" y="820"/>
                    <a:pt x="215" y="817"/>
                    <a:pt x="213" y="812"/>
                  </a:cubicBezTo>
                  <a:cubicBezTo>
                    <a:pt x="213" y="812"/>
                    <a:pt x="213" y="812"/>
                    <a:pt x="213" y="812"/>
                  </a:cubicBezTo>
                  <a:cubicBezTo>
                    <a:pt x="212" y="808"/>
                    <a:pt x="209" y="803"/>
                    <a:pt x="204" y="803"/>
                  </a:cubicBezTo>
                  <a:close/>
                  <a:moveTo>
                    <a:pt x="272" y="1009"/>
                  </a:moveTo>
                  <a:cubicBezTo>
                    <a:pt x="273" y="1009"/>
                    <a:pt x="274" y="1009"/>
                    <a:pt x="273" y="1008"/>
                  </a:cubicBezTo>
                  <a:cubicBezTo>
                    <a:pt x="273" y="1007"/>
                    <a:pt x="272" y="1006"/>
                    <a:pt x="270" y="1004"/>
                  </a:cubicBezTo>
                  <a:cubicBezTo>
                    <a:pt x="267" y="1002"/>
                    <a:pt x="262" y="999"/>
                    <a:pt x="261" y="999"/>
                  </a:cubicBezTo>
                  <a:cubicBezTo>
                    <a:pt x="259" y="1000"/>
                    <a:pt x="269" y="1008"/>
                    <a:pt x="272" y="1009"/>
                  </a:cubicBezTo>
                  <a:close/>
                  <a:moveTo>
                    <a:pt x="663" y="723"/>
                  </a:moveTo>
                  <a:cubicBezTo>
                    <a:pt x="654" y="724"/>
                    <a:pt x="652" y="734"/>
                    <a:pt x="658" y="738"/>
                  </a:cubicBezTo>
                  <a:cubicBezTo>
                    <a:pt x="663" y="742"/>
                    <a:pt x="670" y="738"/>
                    <a:pt x="671" y="732"/>
                  </a:cubicBezTo>
                  <a:cubicBezTo>
                    <a:pt x="672" y="728"/>
                    <a:pt x="669" y="723"/>
                    <a:pt x="663" y="723"/>
                  </a:cubicBezTo>
                  <a:close/>
                  <a:moveTo>
                    <a:pt x="661" y="744"/>
                  </a:moveTo>
                  <a:cubicBezTo>
                    <a:pt x="653" y="745"/>
                    <a:pt x="651" y="755"/>
                    <a:pt x="657" y="758"/>
                  </a:cubicBezTo>
                  <a:cubicBezTo>
                    <a:pt x="661" y="762"/>
                    <a:pt x="668" y="759"/>
                    <a:pt x="670" y="753"/>
                  </a:cubicBezTo>
                  <a:cubicBezTo>
                    <a:pt x="670" y="749"/>
                    <a:pt x="668" y="743"/>
                    <a:pt x="661" y="744"/>
                  </a:cubicBezTo>
                  <a:close/>
                  <a:moveTo>
                    <a:pt x="668" y="773"/>
                  </a:moveTo>
                  <a:cubicBezTo>
                    <a:pt x="669" y="769"/>
                    <a:pt x="666" y="764"/>
                    <a:pt x="660" y="764"/>
                  </a:cubicBezTo>
                  <a:cubicBezTo>
                    <a:pt x="652" y="765"/>
                    <a:pt x="650" y="775"/>
                    <a:pt x="655" y="778"/>
                  </a:cubicBezTo>
                  <a:cubicBezTo>
                    <a:pt x="660" y="782"/>
                    <a:pt x="667" y="779"/>
                    <a:pt x="668" y="773"/>
                  </a:cubicBezTo>
                  <a:close/>
                  <a:moveTo>
                    <a:pt x="710" y="792"/>
                  </a:moveTo>
                  <a:cubicBezTo>
                    <a:pt x="711" y="789"/>
                    <a:pt x="709" y="784"/>
                    <a:pt x="703" y="784"/>
                  </a:cubicBezTo>
                  <a:cubicBezTo>
                    <a:pt x="695" y="785"/>
                    <a:pt x="692" y="794"/>
                    <a:pt x="697" y="798"/>
                  </a:cubicBezTo>
                  <a:cubicBezTo>
                    <a:pt x="702" y="801"/>
                    <a:pt x="708" y="798"/>
                    <a:pt x="710" y="792"/>
                  </a:cubicBezTo>
                  <a:close/>
                  <a:moveTo>
                    <a:pt x="642" y="637"/>
                  </a:moveTo>
                  <a:cubicBezTo>
                    <a:pt x="633" y="639"/>
                    <a:pt x="632" y="649"/>
                    <a:pt x="638" y="653"/>
                  </a:cubicBezTo>
                  <a:cubicBezTo>
                    <a:pt x="643" y="657"/>
                    <a:pt x="650" y="653"/>
                    <a:pt x="651" y="647"/>
                  </a:cubicBezTo>
                  <a:cubicBezTo>
                    <a:pt x="652" y="643"/>
                    <a:pt x="649" y="637"/>
                    <a:pt x="642" y="637"/>
                  </a:cubicBezTo>
                  <a:close/>
                  <a:moveTo>
                    <a:pt x="664" y="702"/>
                  </a:moveTo>
                  <a:cubicBezTo>
                    <a:pt x="655" y="703"/>
                    <a:pt x="654" y="713"/>
                    <a:pt x="659" y="717"/>
                  </a:cubicBezTo>
                  <a:cubicBezTo>
                    <a:pt x="664" y="721"/>
                    <a:pt x="671" y="718"/>
                    <a:pt x="672" y="711"/>
                  </a:cubicBezTo>
                  <a:cubicBezTo>
                    <a:pt x="673" y="707"/>
                    <a:pt x="670" y="702"/>
                    <a:pt x="664" y="702"/>
                  </a:cubicBezTo>
                  <a:close/>
                  <a:moveTo>
                    <a:pt x="666" y="659"/>
                  </a:moveTo>
                  <a:cubicBezTo>
                    <a:pt x="657" y="661"/>
                    <a:pt x="655" y="671"/>
                    <a:pt x="661" y="675"/>
                  </a:cubicBezTo>
                  <a:cubicBezTo>
                    <a:pt x="666" y="678"/>
                    <a:pt x="674" y="675"/>
                    <a:pt x="675" y="669"/>
                  </a:cubicBezTo>
                  <a:cubicBezTo>
                    <a:pt x="675" y="664"/>
                    <a:pt x="673" y="659"/>
                    <a:pt x="666" y="659"/>
                  </a:cubicBezTo>
                  <a:close/>
                  <a:moveTo>
                    <a:pt x="311" y="1032"/>
                  </a:moveTo>
                  <a:cubicBezTo>
                    <a:pt x="311" y="1031"/>
                    <a:pt x="310" y="1030"/>
                    <a:pt x="308" y="1028"/>
                  </a:cubicBezTo>
                  <a:cubicBezTo>
                    <a:pt x="305" y="1026"/>
                    <a:pt x="300" y="1023"/>
                    <a:pt x="298" y="1023"/>
                  </a:cubicBezTo>
                  <a:cubicBezTo>
                    <a:pt x="297" y="1024"/>
                    <a:pt x="306" y="1031"/>
                    <a:pt x="310" y="1032"/>
                  </a:cubicBezTo>
                  <a:cubicBezTo>
                    <a:pt x="311" y="1032"/>
                    <a:pt x="312" y="1032"/>
                    <a:pt x="311" y="1032"/>
                  </a:cubicBezTo>
                  <a:close/>
                  <a:moveTo>
                    <a:pt x="665" y="681"/>
                  </a:moveTo>
                  <a:cubicBezTo>
                    <a:pt x="656" y="682"/>
                    <a:pt x="655" y="692"/>
                    <a:pt x="660" y="696"/>
                  </a:cubicBezTo>
                  <a:cubicBezTo>
                    <a:pt x="665" y="700"/>
                    <a:pt x="673" y="696"/>
                    <a:pt x="674" y="690"/>
                  </a:cubicBezTo>
                  <a:cubicBezTo>
                    <a:pt x="674" y="686"/>
                    <a:pt x="672" y="681"/>
                    <a:pt x="665" y="681"/>
                  </a:cubicBezTo>
                  <a:close/>
                  <a:moveTo>
                    <a:pt x="334" y="1043"/>
                  </a:moveTo>
                  <a:cubicBezTo>
                    <a:pt x="333" y="1042"/>
                    <a:pt x="332" y="1041"/>
                    <a:pt x="330" y="1039"/>
                  </a:cubicBezTo>
                  <a:cubicBezTo>
                    <a:pt x="327" y="1037"/>
                    <a:pt x="322" y="1034"/>
                    <a:pt x="321" y="1035"/>
                  </a:cubicBezTo>
                  <a:cubicBezTo>
                    <a:pt x="319" y="1035"/>
                    <a:pt x="328" y="1041"/>
                    <a:pt x="332" y="1043"/>
                  </a:cubicBezTo>
                  <a:cubicBezTo>
                    <a:pt x="333" y="1043"/>
                    <a:pt x="334" y="1043"/>
                    <a:pt x="334" y="1043"/>
                  </a:cubicBezTo>
                  <a:close/>
                  <a:moveTo>
                    <a:pt x="327" y="1043"/>
                  </a:moveTo>
                  <a:cubicBezTo>
                    <a:pt x="327" y="1042"/>
                    <a:pt x="326" y="1041"/>
                    <a:pt x="323" y="1039"/>
                  </a:cubicBezTo>
                  <a:cubicBezTo>
                    <a:pt x="320" y="1037"/>
                    <a:pt x="316" y="1034"/>
                    <a:pt x="314" y="1035"/>
                  </a:cubicBezTo>
                  <a:cubicBezTo>
                    <a:pt x="313" y="1035"/>
                    <a:pt x="323" y="1042"/>
                    <a:pt x="327" y="1043"/>
                  </a:cubicBezTo>
                  <a:cubicBezTo>
                    <a:pt x="327" y="1043"/>
                    <a:pt x="328" y="1043"/>
                    <a:pt x="327" y="1043"/>
                  </a:cubicBezTo>
                  <a:close/>
                  <a:moveTo>
                    <a:pt x="714" y="659"/>
                  </a:moveTo>
                  <a:cubicBezTo>
                    <a:pt x="705" y="661"/>
                    <a:pt x="703" y="671"/>
                    <a:pt x="709" y="675"/>
                  </a:cubicBezTo>
                  <a:cubicBezTo>
                    <a:pt x="714" y="679"/>
                    <a:pt x="721" y="675"/>
                    <a:pt x="722" y="669"/>
                  </a:cubicBezTo>
                  <a:cubicBezTo>
                    <a:pt x="723" y="664"/>
                    <a:pt x="720" y="659"/>
                    <a:pt x="714" y="659"/>
                  </a:cubicBezTo>
                  <a:close/>
                  <a:moveTo>
                    <a:pt x="667" y="637"/>
                  </a:moveTo>
                  <a:cubicBezTo>
                    <a:pt x="658" y="639"/>
                    <a:pt x="656" y="649"/>
                    <a:pt x="662" y="653"/>
                  </a:cubicBezTo>
                  <a:cubicBezTo>
                    <a:pt x="667" y="657"/>
                    <a:pt x="675" y="653"/>
                    <a:pt x="676" y="647"/>
                  </a:cubicBezTo>
                  <a:cubicBezTo>
                    <a:pt x="676" y="643"/>
                    <a:pt x="673" y="637"/>
                    <a:pt x="667" y="637"/>
                  </a:cubicBezTo>
                  <a:close/>
                  <a:moveTo>
                    <a:pt x="664" y="812"/>
                  </a:moveTo>
                  <a:cubicBezTo>
                    <a:pt x="665" y="807"/>
                    <a:pt x="662" y="803"/>
                    <a:pt x="656" y="803"/>
                  </a:cubicBezTo>
                  <a:cubicBezTo>
                    <a:pt x="649" y="805"/>
                    <a:pt x="647" y="814"/>
                    <a:pt x="652" y="817"/>
                  </a:cubicBezTo>
                  <a:cubicBezTo>
                    <a:pt x="656" y="820"/>
                    <a:pt x="663" y="817"/>
                    <a:pt x="664" y="812"/>
                  </a:cubicBezTo>
                  <a:close/>
                  <a:moveTo>
                    <a:pt x="343" y="1053"/>
                  </a:moveTo>
                  <a:cubicBezTo>
                    <a:pt x="344" y="1053"/>
                    <a:pt x="344" y="1053"/>
                    <a:pt x="344" y="1053"/>
                  </a:cubicBezTo>
                  <a:cubicBezTo>
                    <a:pt x="344" y="1052"/>
                    <a:pt x="342" y="1051"/>
                    <a:pt x="340" y="1050"/>
                  </a:cubicBezTo>
                  <a:cubicBezTo>
                    <a:pt x="337" y="1048"/>
                    <a:pt x="332" y="1045"/>
                    <a:pt x="330" y="1045"/>
                  </a:cubicBezTo>
                  <a:cubicBezTo>
                    <a:pt x="329" y="1046"/>
                    <a:pt x="340" y="1052"/>
                    <a:pt x="343" y="1053"/>
                  </a:cubicBezTo>
                  <a:close/>
                  <a:moveTo>
                    <a:pt x="612" y="675"/>
                  </a:moveTo>
                  <a:cubicBezTo>
                    <a:pt x="617" y="678"/>
                    <a:pt x="625" y="675"/>
                    <a:pt x="626" y="669"/>
                  </a:cubicBezTo>
                  <a:cubicBezTo>
                    <a:pt x="626" y="665"/>
                    <a:pt x="624" y="659"/>
                    <a:pt x="616" y="659"/>
                  </a:cubicBezTo>
                  <a:cubicBezTo>
                    <a:pt x="608" y="661"/>
                    <a:pt x="606" y="671"/>
                    <a:pt x="612" y="675"/>
                  </a:cubicBezTo>
                  <a:close/>
                  <a:moveTo>
                    <a:pt x="634" y="803"/>
                  </a:moveTo>
                  <a:cubicBezTo>
                    <a:pt x="626" y="805"/>
                    <a:pt x="624" y="814"/>
                    <a:pt x="630" y="817"/>
                  </a:cubicBezTo>
                  <a:cubicBezTo>
                    <a:pt x="634" y="820"/>
                    <a:pt x="641" y="817"/>
                    <a:pt x="642" y="812"/>
                  </a:cubicBezTo>
                  <a:cubicBezTo>
                    <a:pt x="643" y="807"/>
                    <a:pt x="640" y="803"/>
                    <a:pt x="634" y="803"/>
                  </a:cubicBezTo>
                  <a:close/>
                  <a:moveTo>
                    <a:pt x="321" y="1043"/>
                  </a:moveTo>
                  <a:cubicBezTo>
                    <a:pt x="322" y="1043"/>
                    <a:pt x="322" y="1043"/>
                    <a:pt x="322" y="1043"/>
                  </a:cubicBezTo>
                  <a:cubicBezTo>
                    <a:pt x="321" y="1042"/>
                    <a:pt x="320" y="1041"/>
                    <a:pt x="318" y="1039"/>
                  </a:cubicBezTo>
                  <a:cubicBezTo>
                    <a:pt x="314" y="1037"/>
                    <a:pt x="310" y="1034"/>
                    <a:pt x="308" y="1035"/>
                  </a:cubicBezTo>
                  <a:cubicBezTo>
                    <a:pt x="307" y="1036"/>
                    <a:pt x="319" y="1043"/>
                    <a:pt x="321" y="1043"/>
                  </a:cubicBezTo>
                  <a:close/>
                  <a:moveTo>
                    <a:pt x="617" y="637"/>
                  </a:moveTo>
                  <a:cubicBezTo>
                    <a:pt x="608" y="639"/>
                    <a:pt x="606" y="649"/>
                    <a:pt x="613" y="653"/>
                  </a:cubicBezTo>
                  <a:cubicBezTo>
                    <a:pt x="618" y="657"/>
                    <a:pt x="625" y="653"/>
                    <a:pt x="626" y="647"/>
                  </a:cubicBezTo>
                  <a:cubicBezTo>
                    <a:pt x="627" y="643"/>
                    <a:pt x="624" y="637"/>
                    <a:pt x="617" y="637"/>
                  </a:cubicBezTo>
                  <a:close/>
                  <a:moveTo>
                    <a:pt x="690" y="659"/>
                  </a:moveTo>
                  <a:cubicBezTo>
                    <a:pt x="682" y="661"/>
                    <a:pt x="680" y="671"/>
                    <a:pt x="685" y="675"/>
                  </a:cubicBezTo>
                  <a:cubicBezTo>
                    <a:pt x="690" y="678"/>
                    <a:pt x="698" y="675"/>
                    <a:pt x="699" y="669"/>
                  </a:cubicBezTo>
                  <a:cubicBezTo>
                    <a:pt x="699" y="664"/>
                    <a:pt x="697" y="659"/>
                    <a:pt x="690" y="659"/>
                  </a:cubicBezTo>
                  <a:close/>
                  <a:moveTo>
                    <a:pt x="691" y="637"/>
                  </a:moveTo>
                  <a:cubicBezTo>
                    <a:pt x="682" y="639"/>
                    <a:pt x="681" y="649"/>
                    <a:pt x="686" y="653"/>
                  </a:cubicBezTo>
                  <a:cubicBezTo>
                    <a:pt x="691" y="657"/>
                    <a:pt x="699" y="653"/>
                    <a:pt x="700" y="647"/>
                  </a:cubicBezTo>
                  <a:cubicBezTo>
                    <a:pt x="700" y="643"/>
                    <a:pt x="698" y="637"/>
                    <a:pt x="691" y="637"/>
                  </a:cubicBezTo>
                  <a:close/>
                  <a:moveTo>
                    <a:pt x="688" y="702"/>
                  </a:moveTo>
                  <a:cubicBezTo>
                    <a:pt x="679" y="703"/>
                    <a:pt x="677" y="713"/>
                    <a:pt x="683" y="717"/>
                  </a:cubicBezTo>
                  <a:cubicBezTo>
                    <a:pt x="688" y="721"/>
                    <a:pt x="695" y="718"/>
                    <a:pt x="696" y="711"/>
                  </a:cubicBezTo>
                  <a:cubicBezTo>
                    <a:pt x="697" y="707"/>
                    <a:pt x="694" y="702"/>
                    <a:pt x="688" y="702"/>
                  </a:cubicBezTo>
                  <a:close/>
                  <a:moveTo>
                    <a:pt x="689" y="681"/>
                  </a:moveTo>
                  <a:cubicBezTo>
                    <a:pt x="681" y="682"/>
                    <a:pt x="679" y="692"/>
                    <a:pt x="684" y="696"/>
                  </a:cubicBezTo>
                  <a:cubicBezTo>
                    <a:pt x="689" y="700"/>
                    <a:pt x="696" y="696"/>
                    <a:pt x="697" y="690"/>
                  </a:cubicBezTo>
                  <a:cubicBezTo>
                    <a:pt x="698" y="686"/>
                    <a:pt x="696" y="681"/>
                    <a:pt x="689" y="681"/>
                  </a:cubicBezTo>
                  <a:close/>
                  <a:moveTo>
                    <a:pt x="715" y="753"/>
                  </a:moveTo>
                  <a:cubicBezTo>
                    <a:pt x="716" y="749"/>
                    <a:pt x="714" y="743"/>
                    <a:pt x="707" y="744"/>
                  </a:cubicBezTo>
                  <a:cubicBezTo>
                    <a:pt x="699" y="745"/>
                    <a:pt x="697" y="755"/>
                    <a:pt x="702" y="758"/>
                  </a:cubicBezTo>
                  <a:cubicBezTo>
                    <a:pt x="707" y="762"/>
                    <a:pt x="713" y="759"/>
                    <a:pt x="715" y="753"/>
                  </a:cubicBezTo>
                  <a:close/>
                  <a:moveTo>
                    <a:pt x="712" y="681"/>
                  </a:moveTo>
                  <a:cubicBezTo>
                    <a:pt x="704" y="682"/>
                    <a:pt x="702" y="692"/>
                    <a:pt x="708" y="696"/>
                  </a:cubicBezTo>
                  <a:cubicBezTo>
                    <a:pt x="712" y="700"/>
                    <a:pt x="720" y="697"/>
                    <a:pt x="721" y="690"/>
                  </a:cubicBezTo>
                  <a:cubicBezTo>
                    <a:pt x="721" y="686"/>
                    <a:pt x="719" y="681"/>
                    <a:pt x="712" y="681"/>
                  </a:cubicBezTo>
                  <a:close/>
                  <a:moveTo>
                    <a:pt x="717" y="732"/>
                  </a:moveTo>
                  <a:cubicBezTo>
                    <a:pt x="718" y="728"/>
                    <a:pt x="716" y="723"/>
                    <a:pt x="709" y="723"/>
                  </a:cubicBezTo>
                  <a:cubicBezTo>
                    <a:pt x="701" y="724"/>
                    <a:pt x="699" y="734"/>
                    <a:pt x="704" y="738"/>
                  </a:cubicBezTo>
                  <a:cubicBezTo>
                    <a:pt x="709" y="742"/>
                    <a:pt x="716" y="738"/>
                    <a:pt x="717" y="732"/>
                  </a:cubicBezTo>
                  <a:close/>
                  <a:moveTo>
                    <a:pt x="711" y="702"/>
                  </a:moveTo>
                  <a:cubicBezTo>
                    <a:pt x="703" y="703"/>
                    <a:pt x="701" y="713"/>
                    <a:pt x="706" y="717"/>
                  </a:cubicBezTo>
                  <a:cubicBezTo>
                    <a:pt x="711" y="721"/>
                    <a:pt x="718" y="718"/>
                    <a:pt x="719" y="711"/>
                  </a:cubicBezTo>
                  <a:cubicBezTo>
                    <a:pt x="720" y="707"/>
                    <a:pt x="718" y="702"/>
                    <a:pt x="711" y="702"/>
                  </a:cubicBezTo>
                  <a:close/>
                  <a:moveTo>
                    <a:pt x="692" y="753"/>
                  </a:moveTo>
                  <a:cubicBezTo>
                    <a:pt x="693" y="749"/>
                    <a:pt x="691" y="743"/>
                    <a:pt x="684" y="744"/>
                  </a:cubicBezTo>
                  <a:cubicBezTo>
                    <a:pt x="676" y="745"/>
                    <a:pt x="674" y="755"/>
                    <a:pt x="680" y="758"/>
                  </a:cubicBezTo>
                  <a:cubicBezTo>
                    <a:pt x="684" y="762"/>
                    <a:pt x="691" y="759"/>
                    <a:pt x="692" y="753"/>
                  </a:cubicBezTo>
                  <a:close/>
                  <a:moveTo>
                    <a:pt x="304" y="1032"/>
                  </a:moveTo>
                  <a:cubicBezTo>
                    <a:pt x="305" y="1032"/>
                    <a:pt x="305" y="1032"/>
                    <a:pt x="305" y="1032"/>
                  </a:cubicBezTo>
                  <a:cubicBezTo>
                    <a:pt x="305" y="1031"/>
                    <a:pt x="303" y="1030"/>
                    <a:pt x="301" y="1028"/>
                  </a:cubicBezTo>
                  <a:cubicBezTo>
                    <a:pt x="298" y="1026"/>
                    <a:pt x="293" y="1023"/>
                    <a:pt x="292" y="1023"/>
                  </a:cubicBezTo>
                  <a:cubicBezTo>
                    <a:pt x="291" y="1024"/>
                    <a:pt x="301" y="1031"/>
                    <a:pt x="304" y="1032"/>
                  </a:cubicBezTo>
                  <a:close/>
                  <a:moveTo>
                    <a:pt x="686" y="723"/>
                  </a:moveTo>
                  <a:cubicBezTo>
                    <a:pt x="678" y="724"/>
                    <a:pt x="676" y="734"/>
                    <a:pt x="681" y="738"/>
                  </a:cubicBezTo>
                  <a:cubicBezTo>
                    <a:pt x="686" y="741"/>
                    <a:pt x="693" y="738"/>
                    <a:pt x="694" y="732"/>
                  </a:cubicBezTo>
                  <a:cubicBezTo>
                    <a:pt x="695" y="728"/>
                    <a:pt x="693" y="723"/>
                    <a:pt x="686" y="723"/>
                  </a:cubicBezTo>
                  <a:close/>
                  <a:moveTo>
                    <a:pt x="686" y="812"/>
                  </a:moveTo>
                  <a:cubicBezTo>
                    <a:pt x="687" y="807"/>
                    <a:pt x="684" y="803"/>
                    <a:pt x="678" y="803"/>
                  </a:cubicBezTo>
                  <a:cubicBezTo>
                    <a:pt x="671" y="805"/>
                    <a:pt x="668" y="814"/>
                    <a:pt x="673" y="817"/>
                  </a:cubicBezTo>
                  <a:cubicBezTo>
                    <a:pt x="678" y="820"/>
                    <a:pt x="684" y="817"/>
                    <a:pt x="686" y="812"/>
                  </a:cubicBezTo>
                  <a:close/>
                  <a:moveTo>
                    <a:pt x="666" y="792"/>
                  </a:moveTo>
                  <a:cubicBezTo>
                    <a:pt x="667" y="789"/>
                    <a:pt x="664" y="784"/>
                    <a:pt x="658" y="784"/>
                  </a:cubicBezTo>
                  <a:cubicBezTo>
                    <a:pt x="650" y="785"/>
                    <a:pt x="648" y="794"/>
                    <a:pt x="653" y="798"/>
                  </a:cubicBezTo>
                  <a:cubicBezTo>
                    <a:pt x="658" y="801"/>
                    <a:pt x="665" y="798"/>
                    <a:pt x="666" y="792"/>
                  </a:cubicBezTo>
                  <a:close/>
                  <a:moveTo>
                    <a:pt x="295" y="1020"/>
                  </a:moveTo>
                  <a:cubicBezTo>
                    <a:pt x="295" y="1019"/>
                    <a:pt x="294" y="1018"/>
                    <a:pt x="292" y="1017"/>
                  </a:cubicBezTo>
                  <a:cubicBezTo>
                    <a:pt x="289" y="1014"/>
                    <a:pt x="284" y="1011"/>
                    <a:pt x="283" y="1011"/>
                  </a:cubicBezTo>
                  <a:cubicBezTo>
                    <a:pt x="281" y="1012"/>
                    <a:pt x="290" y="1019"/>
                    <a:pt x="294" y="1021"/>
                  </a:cubicBezTo>
                  <a:cubicBezTo>
                    <a:pt x="295" y="1021"/>
                    <a:pt x="296" y="1021"/>
                    <a:pt x="295" y="1020"/>
                  </a:cubicBezTo>
                  <a:close/>
                  <a:moveTo>
                    <a:pt x="688" y="792"/>
                  </a:moveTo>
                  <a:cubicBezTo>
                    <a:pt x="689" y="789"/>
                    <a:pt x="687" y="784"/>
                    <a:pt x="681" y="784"/>
                  </a:cubicBezTo>
                  <a:cubicBezTo>
                    <a:pt x="673" y="785"/>
                    <a:pt x="671" y="794"/>
                    <a:pt x="676" y="798"/>
                  </a:cubicBezTo>
                  <a:cubicBezTo>
                    <a:pt x="680" y="801"/>
                    <a:pt x="687" y="798"/>
                    <a:pt x="688" y="792"/>
                  </a:cubicBezTo>
                  <a:close/>
                  <a:moveTo>
                    <a:pt x="637" y="675"/>
                  </a:moveTo>
                  <a:cubicBezTo>
                    <a:pt x="642" y="678"/>
                    <a:pt x="650" y="675"/>
                    <a:pt x="650" y="669"/>
                  </a:cubicBezTo>
                  <a:cubicBezTo>
                    <a:pt x="651" y="665"/>
                    <a:pt x="648" y="659"/>
                    <a:pt x="641" y="659"/>
                  </a:cubicBezTo>
                  <a:cubicBezTo>
                    <a:pt x="633" y="661"/>
                    <a:pt x="631" y="671"/>
                    <a:pt x="637" y="675"/>
                  </a:cubicBezTo>
                  <a:close/>
                  <a:moveTo>
                    <a:pt x="690" y="773"/>
                  </a:moveTo>
                  <a:cubicBezTo>
                    <a:pt x="691" y="769"/>
                    <a:pt x="689" y="764"/>
                    <a:pt x="683" y="764"/>
                  </a:cubicBezTo>
                  <a:cubicBezTo>
                    <a:pt x="675" y="765"/>
                    <a:pt x="672" y="775"/>
                    <a:pt x="678" y="778"/>
                  </a:cubicBezTo>
                  <a:cubicBezTo>
                    <a:pt x="682" y="782"/>
                    <a:pt x="689" y="779"/>
                    <a:pt x="690" y="773"/>
                  </a:cubicBezTo>
                  <a:close/>
                  <a:moveTo>
                    <a:pt x="265" y="995"/>
                  </a:moveTo>
                  <a:cubicBezTo>
                    <a:pt x="265" y="994"/>
                    <a:pt x="264" y="993"/>
                    <a:pt x="262" y="991"/>
                  </a:cubicBezTo>
                  <a:cubicBezTo>
                    <a:pt x="260" y="989"/>
                    <a:pt x="255" y="985"/>
                    <a:pt x="253" y="986"/>
                  </a:cubicBezTo>
                  <a:cubicBezTo>
                    <a:pt x="251" y="987"/>
                    <a:pt x="260" y="994"/>
                    <a:pt x="264" y="996"/>
                  </a:cubicBezTo>
                  <a:cubicBezTo>
                    <a:pt x="265" y="996"/>
                    <a:pt x="266" y="996"/>
                    <a:pt x="265" y="995"/>
                  </a:cubicBezTo>
                  <a:close/>
                  <a:moveTo>
                    <a:pt x="748" y="812"/>
                  </a:moveTo>
                  <a:cubicBezTo>
                    <a:pt x="749" y="807"/>
                    <a:pt x="747" y="803"/>
                    <a:pt x="742" y="803"/>
                  </a:cubicBezTo>
                  <a:cubicBezTo>
                    <a:pt x="734" y="805"/>
                    <a:pt x="732" y="814"/>
                    <a:pt x="737" y="818"/>
                  </a:cubicBezTo>
                  <a:cubicBezTo>
                    <a:pt x="741" y="820"/>
                    <a:pt x="747" y="817"/>
                    <a:pt x="748" y="812"/>
                  </a:cubicBezTo>
                  <a:close/>
                  <a:moveTo>
                    <a:pt x="788" y="812"/>
                  </a:moveTo>
                  <a:cubicBezTo>
                    <a:pt x="789" y="807"/>
                    <a:pt x="788" y="803"/>
                    <a:pt x="782" y="803"/>
                  </a:cubicBezTo>
                  <a:cubicBezTo>
                    <a:pt x="775" y="805"/>
                    <a:pt x="772" y="814"/>
                    <a:pt x="777" y="818"/>
                  </a:cubicBezTo>
                  <a:cubicBezTo>
                    <a:pt x="780" y="820"/>
                    <a:pt x="786" y="817"/>
                    <a:pt x="788" y="812"/>
                  </a:cubicBezTo>
                  <a:close/>
                  <a:moveTo>
                    <a:pt x="752" y="792"/>
                  </a:moveTo>
                  <a:cubicBezTo>
                    <a:pt x="753" y="789"/>
                    <a:pt x="752" y="784"/>
                    <a:pt x="745" y="784"/>
                  </a:cubicBezTo>
                  <a:cubicBezTo>
                    <a:pt x="738" y="785"/>
                    <a:pt x="735" y="794"/>
                    <a:pt x="740" y="798"/>
                  </a:cubicBezTo>
                  <a:cubicBezTo>
                    <a:pt x="744" y="801"/>
                    <a:pt x="750" y="798"/>
                    <a:pt x="752" y="792"/>
                  </a:cubicBezTo>
                  <a:close/>
                  <a:moveTo>
                    <a:pt x="566" y="659"/>
                  </a:moveTo>
                  <a:cubicBezTo>
                    <a:pt x="557" y="661"/>
                    <a:pt x="555" y="670"/>
                    <a:pt x="561" y="674"/>
                  </a:cubicBezTo>
                  <a:cubicBezTo>
                    <a:pt x="567" y="679"/>
                    <a:pt x="575" y="675"/>
                    <a:pt x="576" y="669"/>
                  </a:cubicBezTo>
                  <a:cubicBezTo>
                    <a:pt x="576" y="664"/>
                    <a:pt x="573" y="659"/>
                    <a:pt x="566" y="659"/>
                  </a:cubicBezTo>
                  <a:close/>
                  <a:moveTo>
                    <a:pt x="198" y="784"/>
                  </a:moveTo>
                  <a:cubicBezTo>
                    <a:pt x="192" y="785"/>
                    <a:pt x="195" y="795"/>
                    <a:pt x="201" y="798"/>
                  </a:cubicBezTo>
                  <a:cubicBezTo>
                    <a:pt x="205" y="801"/>
                    <a:pt x="208" y="798"/>
                    <a:pt x="206" y="792"/>
                  </a:cubicBezTo>
                  <a:cubicBezTo>
                    <a:pt x="205" y="789"/>
                    <a:pt x="202" y="784"/>
                    <a:pt x="198" y="784"/>
                  </a:cubicBezTo>
                  <a:close/>
                  <a:moveTo>
                    <a:pt x="755" y="773"/>
                  </a:moveTo>
                  <a:cubicBezTo>
                    <a:pt x="756" y="769"/>
                    <a:pt x="755" y="764"/>
                    <a:pt x="749" y="764"/>
                  </a:cubicBezTo>
                  <a:cubicBezTo>
                    <a:pt x="741" y="765"/>
                    <a:pt x="738" y="775"/>
                    <a:pt x="743" y="778"/>
                  </a:cubicBezTo>
                  <a:cubicBezTo>
                    <a:pt x="747" y="782"/>
                    <a:pt x="754" y="779"/>
                    <a:pt x="755" y="773"/>
                  </a:cubicBezTo>
                  <a:close/>
                  <a:moveTo>
                    <a:pt x="768" y="812"/>
                  </a:moveTo>
                  <a:cubicBezTo>
                    <a:pt x="769" y="808"/>
                    <a:pt x="768" y="803"/>
                    <a:pt x="762" y="803"/>
                  </a:cubicBezTo>
                  <a:cubicBezTo>
                    <a:pt x="755" y="805"/>
                    <a:pt x="752" y="814"/>
                    <a:pt x="757" y="818"/>
                  </a:cubicBezTo>
                  <a:cubicBezTo>
                    <a:pt x="761" y="820"/>
                    <a:pt x="767" y="817"/>
                    <a:pt x="768" y="812"/>
                  </a:cubicBezTo>
                  <a:close/>
                  <a:moveTo>
                    <a:pt x="566" y="637"/>
                  </a:moveTo>
                  <a:cubicBezTo>
                    <a:pt x="557" y="639"/>
                    <a:pt x="555" y="648"/>
                    <a:pt x="561" y="653"/>
                  </a:cubicBezTo>
                  <a:cubicBezTo>
                    <a:pt x="567" y="657"/>
                    <a:pt x="575" y="654"/>
                    <a:pt x="576" y="647"/>
                  </a:cubicBezTo>
                  <a:cubicBezTo>
                    <a:pt x="576" y="643"/>
                    <a:pt x="573" y="637"/>
                    <a:pt x="566" y="637"/>
                  </a:cubicBezTo>
                  <a:close/>
                  <a:moveTo>
                    <a:pt x="161" y="873"/>
                  </a:moveTo>
                  <a:cubicBezTo>
                    <a:pt x="163" y="874"/>
                    <a:pt x="164" y="872"/>
                    <a:pt x="163" y="869"/>
                  </a:cubicBezTo>
                  <a:cubicBezTo>
                    <a:pt x="163" y="868"/>
                    <a:pt x="162" y="868"/>
                    <a:pt x="162" y="867"/>
                  </a:cubicBezTo>
                  <a:cubicBezTo>
                    <a:pt x="160" y="864"/>
                    <a:pt x="156" y="859"/>
                    <a:pt x="154" y="859"/>
                  </a:cubicBezTo>
                  <a:cubicBezTo>
                    <a:pt x="150" y="860"/>
                    <a:pt x="157" y="871"/>
                    <a:pt x="161" y="873"/>
                  </a:cubicBezTo>
                  <a:close/>
                  <a:moveTo>
                    <a:pt x="152" y="873"/>
                  </a:moveTo>
                  <a:cubicBezTo>
                    <a:pt x="154" y="874"/>
                    <a:pt x="154" y="872"/>
                    <a:pt x="153" y="870"/>
                  </a:cubicBezTo>
                  <a:cubicBezTo>
                    <a:pt x="153" y="869"/>
                    <a:pt x="153" y="868"/>
                    <a:pt x="152" y="867"/>
                  </a:cubicBezTo>
                  <a:cubicBezTo>
                    <a:pt x="150" y="864"/>
                    <a:pt x="147" y="859"/>
                    <a:pt x="144" y="859"/>
                  </a:cubicBezTo>
                  <a:cubicBezTo>
                    <a:pt x="141" y="860"/>
                    <a:pt x="147" y="871"/>
                    <a:pt x="152" y="873"/>
                  </a:cubicBezTo>
                  <a:close/>
                  <a:moveTo>
                    <a:pt x="591" y="681"/>
                  </a:moveTo>
                  <a:cubicBezTo>
                    <a:pt x="583" y="682"/>
                    <a:pt x="581" y="691"/>
                    <a:pt x="586" y="696"/>
                  </a:cubicBezTo>
                  <a:cubicBezTo>
                    <a:pt x="592" y="700"/>
                    <a:pt x="600" y="697"/>
                    <a:pt x="600" y="690"/>
                  </a:cubicBezTo>
                  <a:cubicBezTo>
                    <a:pt x="601" y="686"/>
                    <a:pt x="598" y="681"/>
                    <a:pt x="591" y="681"/>
                  </a:cubicBezTo>
                  <a:close/>
                  <a:moveTo>
                    <a:pt x="122" y="837"/>
                  </a:moveTo>
                  <a:cubicBezTo>
                    <a:pt x="124" y="838"/>
                    <a:pt x="124" y="835"/>
                    <a:pt x="123" y="831"/>
                  </a:cubicBezTo>
                  <a:cubicBezTo>
                    <a:pt x="123" y="831"/>
                    <a:pt x="123" y="831"/>
                    <a:pt x="122" y="831"/>
                  </a:cubicBezTo>
                  <a:cubicBezTo>
                    <a:pt x="121" y="827"/>
                    <a:pt x="117" y="822"/>
                    <a:pt x="115" y="822"/>
                  </a:cubicBezTo>
                  <a:cubicBezTo>
                    <a:pt x="111" y="824"/>
                    <a:pt x="118" y="836"/>
                    <a:pt x="122" y="837"/>
                  </a:cubicBezTo>
                  <a:close/>
                  <a:moveTo>
                    <a:pt x="141" y="855"/>
                  </a:moveTo>
                  <a:cubicBezTo>
                    <a:pt x="143" y="856"/>
                    <a:pt x="144" y="854"/>
                    <a:pt x="143" y="851"/>
                  </a:cubicBezTo>
                  <a:cubicBezTo>
                    <a:pt x="143" y="850"/>
                    <a:pt x="142" y="850"/>
                    <a:pt x="142" y="849"/>
                  </a:cubicBezTo>
                  <a:cubicBezTo>
                    <a:pt x="140" y="846"/>
                    <a:pt x="136" y="841"/>
                    <a:pt x="134" y="841"/>
                  </a:cubicBezTo>
                  <a:cubicBezTo>
                    <a:pt x="130" y="842"/>
                    <a:pt x="137" y="853"/>
                    <a:pt x="141" y="855"/>
                  </a:cubicBezTo>
                  <a:close/>
                  <a:moveTo>
                    <a:pt x="114" y="837"/>
                  </a:moveTo>
                  <a:cubicBezTo>
                    <a:pt x="116" y="838"/>
                    <a:pt x="116" y="835"/>
                    <a:pt x="114" y="831"/>
                  </a:cubicBezTo>
                  <a:cubicBezTo>
                    <a:pt x="112" y="827"/>
                    <a:pt x="108" y="822"/>
                    <a:pt x="106" y="822"/>
                  </a:cubicBezTo>
                  <a:cubicBezTo>
                    <a:pt x="103" y="824"/>
                    <a:pt x="111" y="836"/>
                    <a:pt x="114" y="837"/>
                  </a:cubicBezTo>
                  <a:close/>
                  <a:moveTo>
                    <a:pt x="132" y="855"/>
                  </a:moveTo>
                  <a:cubicBezTo>
                    <a:pt x="134" y="856"/>
                    <a:pt x="135" y="854"/>
                    <a:pt x="133" y="850"/>
                  </a:cubicBezTo>
                  <a:cubicBezTo>
                    <a:pt x="133" y="850"/>
                    <a:pt x="133" y="849"/>
                    <a:pt x="132" y="849"/>
                  </a:cubicBezTo>
                  <a:cubicBezTo>
                    <a:pt x="131" y="846"/>
                    <a:pt x="127" y="841"/>
                    <a:pt x="125" y="841"/>
                  </a:cubicBezTo>
                  <a:cubicBezTo>
                    <a:pt x="121" y="842"/>
                    <a:pt x="129" y="854"/>
                    <a:pt x="132" y="855"/>
                  </a:cubicBezTo>
                  <a:close/>
                  <a:moveTo>
                    <a:pt x="611" y="738"/>
                  </a:moveTo>
                  <a:cubicBezTo>
                    <a:pt x="616" y="742"/>
                    <a:pt x="623" y="738"/>
                    <a:pt x="624" y="732"/>
                  </a:cubicBezTo>
                  <a:cubicBezTo>
                    <a:pt x="624" y="728"/>
                    <a:pt x="622" y="723"/>
                    <a:pt x="615" y="723"/>
                  </a:cubicBezTo>
                  <a:cubicBezTo>
                    <a:pt x="606" y="724"/>
                    <a:pt x="605" y="734"/>
                    <a:pt x="611" y="738"/>
                  </a:cubicBezTo>
                  <a:close/>
                  <a:moveTo>
                    <a:pt x="824" y="732"/>
                  </a:moveTo>
                  <a:cubicBezTo>
                    <a:pt x="825" y="728"/>
                    <a:pt x="823" y="723"/>
                    <a:pt x="818" y="723"/>
                  </a:cubicBezTo>
                  <a:cubicBezTo>
                    <a:pt x="810" y="725"/>
                    <a:pt x="807" y="735"/>
                    <a:pt x="812" y="739"/>
                  </a:cubicBezTo>
                  <a:cubicBezTo>
                    <a:pt x="816" y="741"/>
                    <a:pt x="822" y="738"/>
                    <a:pt x="824" y="732"/>
                  </a:cubicBezTo>
                  <a:close/>
                  <a:moveTo>
                    <a:pt x="848" y="637"/>
                  </a:moveTo>
                  <a:cubicBezTo>
                    <a:pt x="841" y="639"/>
                    <a:pt x="839" y="650"/>
                    <a:pt x="844" y="654"/>
                  </a:cubicBezTo>
                  <a:cubicBezTo>
                    <a:pt x="848" y="657"/>
                    <a:pt x="854" y="653"/>
                    <a:pt x="855" y="647"/>
                  </a:cubicBezTo>
                  <a:cubicBezTo>
                    <a:pt x="856" y="643"/>
                    <a:pt x="854" y="637"/>
                    <a:pt x="848" y="637"/>
                  </a:cubicBezTo>
                  <a:close/>
                  <a:moveTo>
                    <a:pt x="821" y="702"/>
                  </a:moveTo>
                  <a:cubicBezTo>
                    <a:pt x="813" y="704"/>
                    <a:pt x="810" y="714"/>
                    <a:pt x="816" y="718"/>
                  </a:cubicBezTo>
                  <a:cubicBezTo>
                    <a:pt x="820" y="721"/>
                    <a:pt x="826" y="717"/>
                    <a:pt x="827" y="711"/>
                  </a:cubicBezTo>
                  <a:cubicBezTo>
                    <a:pt x="828" y="707"/>
                    <a:pt x="826" y="702"/>
                    <a:pt x="821" y="702"/>
                  </a:cubicBezTo>
                  <a:close/>
                  <a:moveTo>
                    <a:pt x="853" y="669"/>
                  </a:moveTo>
                  <a:cubicBezTo>
                    <a:pt x="854" y="664"/>
                    <a:pt x="852" y="659"/>
                    <a:pt x="846" y="659"/>
                  </a:cubicBezTo>
                  <a:cubicBezTo>
                    <a:pt x="839" y="661"/>
                    <a:pt x="837" y="672"/>
                    <a:pt x="842" y="675"/>
                  </a:cubicBezTo>
                  <a:cubicBezTo>
                    <a:pt x="846" y="678"/>
                    <a:pt x="852" y="675"/>
                    <a:pt x="853" y="669"/>
                  </a:cubicBezTo>
                  <a:close/>
                  <a:moveTo>
                    <a:pt x="610" y="758"/>
                  </a:moveTo>
                  <a:cubicBezTo>
                    <a:pt x="615" y="762"/>
                    <a:pt x="622" y="759"/>
                    <a:pt x="623" y="753"/>
                  </a:cubicBezTo>
                  <a:cubicBezTo>
                    <a:pt x="623" y="749"/>
                    <a:pt x="621" y="743"/>
                    <a:pt x="614" y="744"/>
                  </a:cubicBezTo>
                  <a:cubicBezTo>
                    <a:pt x="606" y="745"/>
                    <a:pt x="604" y="755"/>
                    <a:pt x="610" y="758"/>
                  </a:cubicBezTo>
                  <a:close/>
                  <a:moveTo>
                    <a:pt x="611" y="717"/>
                  </a:moveTo>
                  <a:cubicBezTo>
                    <a:pt x="616" y="721"/>
                    <a:pt x="624" y="718"/>
                    <a:pt x="624" y="711"/>
                  </a:cubicBezTo>
                  <a:cubicBezTo>
                    <a:pt x="625" y="707"/>
                    <a:pt x="623" y="702"/>
                    <a:pt x="615" y="702"/>
                  </a:cubicBezTo>
                  <a:cubicBezTo>
                    <a:pt x="607" y="703"/>
                    <a:pt x="605" y="713"/>
                    <a:pt x="611" y="717"/>
                  </a:cubicBezTo>
                  <a:close/>
                  <a:moveTo>
                    <a:pt x="591" y="659"/>
                  </a:moveTo>
                  <a:cubicBezTo>
                    <a:pt x="583" y="661"/>
                    <a:pt x="581" y="670"/>
                    <a:pt x="587" y="674"/>
                  </a:cubicBezTo>
                  <a:cubicBezTo>
                    <a:pt x="592" y="679"/>
                    <a:pt x="600" y="675"/>
                    <a:pt x="601" y="669"/>
                  </a:cubicBezTo>
                  <a:cubicBezTo>
                    <a:pt x="601" y="665"/>
                    <a:pt x="599" y="659"/>
                    <a:pt x="591" y="659"/>
                  </a:cubicBezTo>
                  <a:close/>
                  <a:moveTo>
                    <a:pt x="816" y="773"/>
                  </a:moveTo>
                  <a:cubicBezTo>
                    <a:pt x="817" y="769"/>
                    <a:pt x="816" y="764"/>
                    <a:pt x="810" y="764"/>
                  </a:cubicBezTo>
                  <a:cubicBezTo>
                    <a:pt x="803" y="765"/>
                    <a:pt x="800" y="775"/>
                    <a:pt x="805" y="779"/>
                  </a:cubicBezTo>
                  <a:cubicBezTo>
                    <a:pt x="809" y="782"/>
                    <a:pt x="815" y="778"/>
                    <a:pt x="816" y="773"/>
                  </a:cubicBezTo>
                  <a:close/>
                  <a:moveTo>
                    <a:pt x="807" y="812"/>
                  </a:moveTo>
                  <a:cubicBezTo>
                    <a:pt x="808" y="808"/>
                    <a:pt x="807" y="803"/>
                    <a:pt x="802" y="803"/>
                  </a:cubicBezTo>
                  <a:cubicBezTo>
                    <a:pt x="794" y="805"/>
                    <a:pt x="791" y="814"/>
                    <a:pt x="796" y="818"/>
                  </a:cubicBezTo>
                  <a:cubicBezTo>
                    <a:pt x="799" y="820"/>
                    <a:pt x="805" y="817"/>
                    <a:pt x="807" y="812"/>
                  </a:cubicBezTo>
                  <a:close/>
                  <a:moveTo>
                    <a:pt x="820" y="753"/>
                  </a:moveTo>
                  <a:cubicBezTo>
                    <a:pt x="821" y="749"/>
                    <a:pt x="820" y="743"/>
                    <a:pt x="814" y="744"/>
                  </a:cubicBezTo>
                  <a:cubicBezTo>
                    <a:pt x="806" y="745"/>
                    <a:pt x="804" y="755"/>
                    <a:pt x="809" y="759"/>
                  </a:cubicBezTo>
                  <a:cubicBezTo>
                    <a:pt x="813" y="762"/>
                    <a:pt x="819" y="758"/>
                    <a:pt x="820" y="753"/>
                  </a:cubicBezTo>
                  <a:close/>
                  <a:moveTo>
                    <a:pt x="796" y="773"/>
                  </a:moveTo>
                  <a:cubicBezTo>
                    <a:pt x="797" y="769"/>
                    <a:pt x="796" y="764"/>
                    <a:pt x="790" y="764"/>
                  </a:cubicBezTo>
                  <a:cubicBezTo>
                    <a:pt x="782" y="765"/>
                    <a:pt x="780" y="775"/>
                    <a:pt x="785" y="779"/>
                  </a:cubicBezTo>
                  <a:cubicBezTo>
                    <a:pt x="789" y="782"/>
                    <a:pt x="795" y="778"/>
                    <a:pt x="796" y="773"/>
                  </a:cubicBezTo>
                  <a:close/>
                  <a:moveTo>
                    <a:pt x="812" y="792"/>
                  </a:moveTo>
                  <a:cubicBezTo>
                    <a:pt x="813" y="789"/>
                    <a:pt x="812" y="784"/>
                    <a:pt x="806" y="784"/>
                  </a:cubicBezTo>
                  <a:cubicBezTo>
                    <a:pt x="799" y="785"/>
                    <a:pt x="796" y="795"/>
                    <a:pt x="800" y="798"/>
                  </a:cubicBezTo>
                  <a:cubicBezTo>
                    <a:pt x="804" y="801"/>
                    <a:pt x="810" y="798"/>
                    <a:pt x="812" y="792"/>
                  </a:cubicBezTo>
                  <a:close/>
                  <a:moveTo>
                    <a:pt x="540" y="659"/>
                  </a:moveTo>
                  <a:cubicBezTo>
                    <a:pt x="532" y="661"/>
                    <a:pt x="530" y="670"/>
                    <a:pt x="536" y="674"/>
                  </a:cubicBezTo>
                  <a:cubicBezTo>
                    <a:pt x="541" y="679"/>
                    <a:pt x="549" y="675"/>
                    <a:pt x="550" y="669"/>
                  </a:cubicBezTo>
                  <a:cubicBezTo>
                    <a:pt x="550" y="664"/>
                    <a:pt x="547" y="659"/>
                    <a:pt x="540" y="659"/>
                  </a:cubicBezTo>
                  <a:close/>
                  <a:moveTo>
                    <a:pt x="792" y="792"/>
                  </a:moveTo>
                  <a:cubicBezTo>
                    <a:pt x="793" y="789"/>
                    <a:pt x="792" y="784"/>
                    <a:pt x="786" y="784"/>
                  </a:cubicBezTo>
                  <a:cubicBezTo>
                    <a:pt x="779" y="785"/>
                    <a:pt x="776" y="795"/>
                    <a:pt x="781" y="798"/>
                  </a:cubicBezTo>
                  <a:cubicBezTo>
                    <a:pt x="785" y="801"/>
                    <a:pt x="791" y="798"/>
                    <a:pt x="792" y="792"/>
                  </a:cubicBezTo>
                  <a:close/>
                  <a:moveTo>
                    <a:pt x="550" y="647"/>
                  </a:moveTo>
                  <a:cubicBezTo>
                    <a:pt x="550" y="643"/>
                    <a:pt x="547" y="637"/>
                    <a:pt x="540" y="637"/>
                  </a:cubicBezTo>
                  <a:cubicBezTo>
                    <a:pt x="531" y="639"/>
                    <a:pt x="530" y="648"/>
                    <a:pt x="535" y="653"/>
                  </a:cubicBezTo>
                  <a:cubicBezTo>
                    <a:pt x="541" y="657"/>
                    <a:pt x="549" y="654"/>
                    <a:pt x="550" y="647"/>
                  </a:cubicBezTo>
                  <a:close/>
                  <a:moveTo>
                    <a:pt x="806" y="637"/>
                  </a:moveTo>
                  <a:cubicBezTo>
                    <a:pt x="798" y="639"/>
                    <a:pt x="796" y="650"/>
                    <a:pt x="802" y="654"/>
                  </a:cubicBezTo>
                  <a:cubicBezTo>
                    <a:pt x="806" y="657"/>
                    <a:pt x="812" y="653"/>
                    <a:pt x="813" y="647"/>
                  </a:cubicBezTo>
                  <a:cubicBezTo>
                    <a:pt x="814" y="643"/>
                    <a:pt x="812" y="637"/>
                    <a:pt x="806" y="637"/>
                  </a:cubicBezTo>
                  <a:close/>
                  <a:moveTo>
                    <a:pt x="780" y="681"/>
                  </a:moveTo>
                  <a:cubicBezTo>
                    <a:pt x="772" y="682"/>
                    <a:pt x="770" y="693"/>
                    <a:pt x="776" y="697"/>
                  </a:cubicBezTo>
                  <a:cubicBezTo>
                    <a:pt x="780" y="700"/>
                    <a:pt x="787" y="696"/>
                    <a:pt x="788" y="690"/>
                  </a:cubicBezTo>
                  <a:cubicBezTo>
                    <a:pt x="789" y="686"/>
                    <a:pt x="786" y="681"/>
                    <a:pt x="780" y="681"/>
                  </a:cubicBezTo>
                  <a:close/>
                  <a:moveTo>
                    <a:pt x="778" y="702"/>
                  </a:moveTo>
                  <a:cubicBezTo>
                    <a:pt x="770" y="704"/>
                    <a:pt x="768" y="714"/>
                    <a:pt x="774" y="718"/>
                  </a:cubicBezTo>
                  <a:cubicBezTo>
                    <a:pt x="778" y="721"/>
                    <a:pt x="784" y="717"/>
                    <a:pt x="785" y="711"/>
                  </a:cubicBezTo>
                  <a:cubicBezTo>
                    <a:pt x="786" y="707"/>
                    <a:pt x="784" y="702"/>
                    <a:pt x="778" y="702"/>
                  </a:cubicBezTo>
                  <a:close/>
                  <a:moveTo>
                    <a:pt x="776" y="723"/>
                  </a:moveTo>
                  <a:cubicBezTo>
                    <a:pt x="768" y="724"/>
                    <a:pt x="765" y="735"/>
                    <a:pt x="771" y="739"/>
                  </a:cubicBezTo>
                  <a:cubicBezTo>
                    <a:pt x="775" y="741"/>
                    <a:pt x="781" y="738"/>
                    <a:pt x="783" y="732"/>
                  </a:cubicBezTo>
                  <a:cubicBezTo>
                    <a:pt x="784" y="728"/>
                    <a:pt x="782" y="723"/>
                    <a:pt x="776" y="723"/>
                  </a:cubicBezTo>
                  <a:close/>
                  <a:moveTo>
                    <a:pt x="773" y="744"/>
                  </a:moveTo>
                  <a:cubicBezTo>
                    <a:pt x="765" y="745"/>
                    <a:pt x="763" y="755"/>
                    <a:pt x="768" y="759"/>
                  </a:cubicBezTo>
                  <a:cubicBezTo>
                    <a:pt x="772" y="762"/>
                    <a:pt x="778" y="758"/>
                    <a:pt x="779" y="753"/>
                  </a:cubicBezTo>
                  <a:cubicBezTo>
                    <a:pt x="780" y="749"/>
                    <a:pt x="779" y="743"/>
                    <a:pt x="773" y="744"/>
                  </a:cubicBezTo>
                  <a:close/>
                  <a:moveTo>
                    <a:pt x="797" y="723"/>
                  </a:moveTo>
                  <a:cubicBezTo>
                    <a:pt x="789" y="724"/>
                    <a:pt x="787" y="735"/>
                    <a:pt x="792" y="739"/>
                  </a:cubicBezTo>
                  <a:cubicBezTo>
                    <a:pt x="796" y="741"/>
                    <a:pt x="802" y="738"/>
                    <a:pt x="804" y="732"/>
                  </a:cubicBezTo>
                  <a:cubicBezTo>
                    <a:pt x="804" y="728"/>
                    <a:pt x="803" y="723"/>
                    <a:pt x="797" y="723"/>
                  </a:cubicBezTo>
                  <a:close/>
                  <a:moveTo>
                    <a:pt x="800" y="753"/>
                  </a:moveTo>
                  <a:cubicBezTo>
                    <a:pt x="801" y="749"/>
                    <a:pt x="800" y="743"/>
                    <a:pt x="794" y="744"/>
                  </a:cubicBezTo>
                  <a:cubicBezTo>
                    <a:pt x="786" y="745"/>
                    <a:pt x="784" y="755"/>
                    <a:pt x="789" y="759"/>
                  </a:cubicBezTo>
                  <a:cubicBezTo>
                    <a:pt x="793" y="762"/>
                    <a:pt x="799" y="758"/>
                    <a:pt x="800" y="753"/>
                  </a:cubicBezTo>
                  <a:close/>
                  <a:moveTo>
                    <a:pt x="776" y="773"/>
                  </a:moveTo>
                  <a:cubicBezTo>
                    <a:pt x="777" y="769"/>
                    <a:pt x="775" y="764"/>
                    <a:pt x="770" y="764"/>
                  </a:cubicBezTo>
                  <a:cubicBezTo>
                    <a:pt x="762" y="765"/>
                    <a:pt x="759" y="775"/>
                    <a:pt x="764" y="779"/>
                  </a:cubicBezTo>
                  <a:cubicBezTo>
                    <a:pt x="768" y="782"/>
                    <a:pt x="775" y="778"/>
                    <a:pt x="776" y="773"/>
                  </a:cubicBezTo>
                  <a:close/>
                  <a:moveTo>
                    <a:pt x="734" y="773"/>
                  </a:moveTo>
                  <a:cubicBezTo>
                    <a:pt x="735" y="769"/>
                    <a:pt x="733" y="764"/>
                    <a:pt x="727" y="764"/>
                  </a:cubicBezTo>
                  <a:cubicBezTo>
                    <a:pt x="719" y="765"/>
                    <a:pt x="717" y="775"/>
                    <a:pt x="722" y="778"/>
                  </a:cubicBezTo>
                  <a:cubicBezTo>
                    <a:pt x="726" y="782"/>
                    <a:pt x="733" y="779"/>
                    <a:pt x="734" y="773"/>
                  </a:cubicBezTo>
                  <a:close/>
                  <a:moveTo>
                    <a:pt x="741" y="711"/>
                  </a:moveTo>
                  <a:cubicBezTo>
                    <a:pt x="742" y="707"/>
                    <a:pt x="740" y="702"/>
                    <a:pt x="734" y="702"/>
                  </a:cubicBezTo>
                  <a:cubicBezTo>
                    <a:pt x="726" y="703"/>
                    <a:pt x="724" y="713"/>
                    <a:pt x="729" y="717"/>
                  </a:cubicBezTo>
                  <a:cubicBezTo>
                    <a:pt x="733" y="721"/>
                    <a:pt x="740" y="718"/>
                    <a:pt x="741" y="711"/>
                  </a:cubicBezTo>
                  <a:close/>
                  <a:moveTo>
                    <a:pt x="772" y="792"/>
                  </a:moveTo>
                  <a:cubicBezTo>
                    <a:pt x="773" y="789"/>
                    <a:pt x="772" y="784"/>
                    <a:pt x="766" y="784"/>
                  </a:cubicBezTo>
                  <a:cubicBezTo>
                    <a:pt x="758" y="785"/>
                    <a:pt x="756" y="795"/>
                    <a:pt x="761" y="798"/>
                  </a:cubicBezTo>
                  <a:cubicBezTo>
                    <a:pt x="765" y="801"/>
                    <a:pt x="771" y="798"/>
                    <a:pt x="772" y="792"/>
                  </a:cubicBezTo>
                  <a:close/>
                  <a:moveTo>
                    <a:pt x="739" y="732"/>
                  </a:moveTo>
                  <a:cubicBezTo>
                    <a:pt x="740" y="728"/>
                    <a:pt x="738" y="723"/>
                    <a:pt x="732" y="723"/>
                  </a:cubicBezTo>
                  <a:cubicBezTo>
                    <a:pt x="724" y="724"/>
                    <a:pt x="722" y="734"/>
                    <a:pt x="727" y="738"/>
                  </a:cubicBezTo>
                  <a:cubicBezTo>
                    <a:pt x="731" y="741"/>
                    <a:pt x="738" y="738"/>
                    <a:pt x="739" y="732"/>
                  </a:cubicBezTo>
                  <a:close/>
                  <a:moveTo>
                    <a:pt x="592" y="637"/>
                  </a:moveTo>
                  <a:cubicBezTo>
                    <a:pt x="583" y="639"/>
                    <a:pt x="581" y="649"/>
                    <a:pt x="587" y="653"/>
                  </a:cubicBezTo>
                  <a:cubicBezTo>
                    <a:pt x="593" y="657"/>
                    <a:pt x="600" y="653"/>
                    <a:pt x="601" y="647"/>
                  </a:cubicBezTo>
                  <a:cubicBezTo>
                    <a:pt x="602" y="643"/>
                    <a:pt x="599" y="637"/>
                    <a:pt x="592" y="637"/>
                  </a:cubicBezTo>
                  <a:close/>
                  <a:moveTo>
                    <a:pt x="737" y="753"/>
                  </a:moveTo>
                  <a:cubicBezTo>
                    <a:pt x="738" y="749"/>
                    <a:pt x="736" y="743"/>
                    <a:pt x="729" y="744"/>
                  </a:cubicBezTo>
                  <a:cubicBezTo>
                    <a:pt x="722" y="745"/>
                    <a:pt x="719" y="755"/>
                    <a:pt x="724" y="758"/>
                  </a:cubicBezTo>
                  <a:cubicBezTo>
                    <a:pt x="728" y="762"/>
                    <a:pt x="735" y="759"/>
                    <a:pt x="737" y="753"/>
                  </a:cubicBezTo>
                  <a:close/>
                  <a:moveTo>
                    <a:pt x="758" y="753"/>
                  </a:moveTo>
                  <a:cubicBezTo>
                    <a:pt x="759" y="749"/>
                    <a:pt x="757" y="743"/>
                    <a:pt x="751" y="744"/>
                  </a:cubicBezTo>
                  <a:cubicBezTo>
                    <a:pt x="744" y="745"/>
                    <a:pt x="741" y="755"/>
                    <a:pt x="746" y="758"/>
                  </a:cubicBezTo>
                  <a:cubicBezTo>
                    <a:pt x="750" y="762"/>
                    <a:pt x="757" y="759"/>
                    <a:pt x="758" y="753"/>
                  </a:cubicBezTo>
                  <a:close/>
                  <a:moveTo>
                    <a:pt x="736" y="681"/>
                  </a:moveTo>
                  <a:cubicBezTo>
                    <a:pt x="727" y="682"/>
                    <a:pt x="725" y="692"/>
                    <a:pt x="731" y="696"/>
                  </a:cubicBezTo>
                  <a:cubicBezTo>
                    <a:pt x="735" y="700"/>
                    <a:pt x="742" y="696"/>
                    <a:pt x="743" y="690"/>
                  </a:cubicBezTo>
                  <a:cubicBezTo>
                    <a:pt x="744" y="686"/>
                    <a:pt x="742" y="681"/>
                    <a:pt x="736" y="681"/>
                  </a:cubicBezTo>
                  <a:close/>
                  <a:moveTo>
                    <a:pt x="800" y="702"/>
                  </a:moveTo>
                  <a:cubicBezTo>
                    <a:pt x="792" y="704"/>
                    <a:pt x="790" y="714"/>
                    <a:pt x="795" y="718"/>
                  </a:cubicBezTo>
                  <a:cubicBezTo>
                    <a:pt x="799" y="721"/>
                    <a:pt x="805" y="717"/>
                    <a:pt x="807" y="711"/>
                  </a:cubicBezTo>
                  <a:cubicBezTo>
                    <a:pt x="807" y="707"/>
                    <a:pt x="806" y="702"/>
                    <a:pt x="800" y="702"/>
                  </a:cubicBezTo>
                  <a:close/>
                  <a:moveTo>
                    <a:pt x="802" y="681"/>
                  </a:moveTo>
                  <a:cubicBezTo>
                    <a:pt x="794" y="682"/>
                    <a:pt x="792" y="693"/>
                    <a:pt x="798" y="697"/>
                  </a:cubicBezTo>
                  <a:cubicBezTo>
                    <a:pt x="802" y="700"/>
                    <a:pt x="808" y="696"/>
                    <a:pt x="809" y="690"/>
                  </a:cubicBezTo>
                  <a:cubicBezTo>
                    <a:pt x="810" y="686"/>
                    <a:pt x="808" y="681"/>
                    <a:pt x="802" y="681"/>
                  </a:cubicBezTo>
                  <a:close/>
                  <a:moveTo>
                    <a:pt x="203" y="907"/>
                  </a:moveTo>
                  <a:cubicBezTo>
                    <a:pt x="206" y="908"/>
                    <a:pt x="207" y="907"/>
                    <a:pt x="206" y="904"/>
                  </a:cubicBezTo>
                  <a:cubicBezTo>
                    <a:pt x="206" y="903"/>
                    <a:pt x="205" y="902"/>
                    <a:pt x="205" y="901"/>
                  </a:cubicBezTo>
                  <a:cubicBezTo>
                    <a:pt x="203" y="898"/>
                    <a:pt x="199" y="894"/>
                    <a:pt x="196" y="894"/>
                  </a:cubicBezTo>
                  <a:cubicBezTo>
                    <a:pt x="193" y="895"/>
                    <a:pt x="198" y="904"/>
                    <a:pt x="203" y="907"/>
                  </a:cubicBezTo>
                  <a:close/>
                  <a:moveTo>
                    <a:pt x="193" y="907"/>
                  </a:moveTo>
                  <a:cubicBezTo>
                    <a:pt x="195" y="908"/>
                    <a:pt x="196" y="907"/>
                    <a:pt x="196" y="904"/>
                  </a:cubicBezTo>
                  <a:cubicBezTo>
                    <a:pt x="195" y="903"/>
                    <a:pt x="195" y="902"/>
                    <a:pt x="194" y="901"/>
                  </a:cubicBezTo>
                  <a:cubicBezTo>
                    <a:pt x="192" y="898"/>
                    <a:pt x="188" y="894"/>
                    <a:pt x="185" y="894"/>
                  </a:cubicBezTo>
                  <a:cubicBezTo>
                    <a:pt x="182" y="895"/>
                    <a:pt x="188" y="904"/>
                    <a:pt x="193" y="907"/>
                  </a:cubicBezTo>
                  <a:close/>
                  <a:moveTo>
                    <a:pt x="612" y="696"/>
                  </a:moveTo>
                  <a:cubicBezTo>
                    <a:pt x="617" y="700"/>
                    <a:pt x="624" y="696"/>
                    <a:pt x="625" y="690"/>
                  </a:cubicBezTo>
                  <a:cubicBezTo>
                    <a:pt x="626" y="686"/>
                    <a:pt x="623" y="681"/>
                    <a:pt x="616" y="681"/>
                  </a:cubicBezTo>
                  <a:cubicBezTo>
                    <a:pt x="607" y="682"/>
                    <a:pt x="606" y="692"/>
                    <a:pt x="612" y="696"/>
                  </a:cubicBezTo>
                  <a:close/>
                  <a:moveTo>
                    <a:pt x="205" y="923"/>
                  </a:moveTo>
                  <a:cubicBezTo>
                    <a:pt x="207" y="924"/>
                    <a:pt x="208" y="923"/>
                    <a:pt x="207" y="921"/>
                  </a:cubicBezTo>
                  <a:cubicBezTo>
                    <a:pt x="207" y="920"/>
                    <a:pt x="206" y="919"/>
                    <a:pt x="206" y="918"/>
                  </a:cubicBezTo>
                  <a:cubicBezTo>
                    <a:pt x="204" y="915"/>
                    <a:pt x="199" y="910"/>
                    <a:pt x="197" y="911"/>
                  </a:cubicBezTo>
                  <a:cubicBezTo>
                    <a:pt x="194" y="912"/>
                    <a:pt x="200" y="921"/>
                    <a:pt x="205" y="923"/>
                  </a:cubicBezTo>
                  <a:close/>
                  <a:moveTo>
                    <a:pt x="172" y="890"/>
                  </a:moveTo>
                  <a:cubicBezTo>
                    <a:pt x="174" y="891"/>
                    <a:pt x="175" y="890"/>
                    <a:pt x="174" y="887"/>
                  </a:cubicBezTo>
                  <a:cubicBezTo>
                    <a:pt x="174" y="886"/>
                    <a:pt x="173" y="885"/>
                    <a:pt x="173" y="884"/>
                  </a:cubicBezTo>
                  <a:cubicBezTo>
                    <a:pt x="171" y="881"/>
                    <a:pt x="167" y="877"/>
                    <a:pt x="164" y="877"/>
                  </a:cubicBezTo>
                  <a:cubicBezTo>
                    <a:pt x="161" y="878"/>
                    <a:pt x="168" y="888"/>
                    <a:pt x="172" y="890"/>
                  </a:cubicBezTo>
                  <a:close/>
                  <a:moveTo>
                    <a:pt x="184" y="907"/>
                  </a:moveTo>
                  <a:cubicBezTo>
                    <a:pt x="186" y="908"/>
                    <a:pt x="187" y="907"/>
                    <a:pt x="185" y="904"/>
                  </a:cubicBezTo>
                  <a:cubicBezTo>
                    <a:pt x="185" y="903"/>
                    <a:pt x="185" y="902"/>
                    <a:pt x="184" y="901"/>
                  </a:cubicBezTo>
                  <a:cubicBezTo>
                    <a:pt x="182" y="898"/>
                    <a:pt x="178" y="894"/>
                    <a:pt x="175" y="894"/>
                  </a:cubicBezTo>
                  <a:cubicBezTo>
                    <a:pt x="172" y="895"/>
                    <a:pt x="179" y="905"/>
                    <a:pt x="184" y="907"/>
                  </a:cubicBezTo>
                  <a:close/>
                  <a:moveTo>
                    <a:pt x="182" y="890"/>
                  </a:moveTo>
                  <a:cubicBezTo>
                    <a:pt x="184" y="891"/>
                    <a:pt x="185" y="890"/>
                    <a:pt x="184" y="887"/>
                  </a:cubicBezTo>
                  <a:cubicBezTo>
                    <a:pt x="184" y="886"/>
                    <a:pt x="184" y="885"/>
                    <a:pt x="183" y="884"/>
                  </a:cubicBezTo>
                  <a:cubicBezTo>
                    <a:pt x="181" y="881"/>
                    <a:pt x="177" y="877"/>
                    <a:pt x="175" y="877"/>
                  </a:cubicBezTo>
                  <a:cubicBezTo>
                    <a:pt x="171" y="878"/>
                    <a:pt x="177" y="887"/>
                    <a:pt x="182" y="890"/>
                  </a:cubicBezTo>
                  <a:close/>
                  <a:moveTo>
                    <a:pt x="208" y="939"/>
                  </a:moveTo>
                  <a:cubicBezTo>
                    <a:pt x="210" y="940"/>
                    <a:pt x="211" y="939"/>
                    <a:pt x="210" y="937"/>
                  </a:cubicBezTo>
                  <a:cubicBezTo>
                    <a:pt x="210" y="936"/>
                    <a:pt x="209" y="935"/>
                    <a:pt x="208" y="934"/>
                  </a:cubicBezTo>
                  <a:cubicBezTo>
                    <a:pt x="206" y="931"/>
                    <a:pt x="202" y="927"/>
                    <a:pt x="199" y="927"/>
                  </a:cubicBezTo>
                  <a:cubicBezTo>
                    <a:pt x="196" y="928"/>
                    <a:pt x="204" y="937"/>
                    <a:pt x="208" y="939"/>
                  </a:cubicBezTo>
                  <a:close/>
                  <a:moveTo>
                    <a:pt x="622" y="773"/>
                  </a:moveTo>
                  <a:cubicBezTo>
                    <a:pt x="622" y="769"/>
                    <a:pt x="620" y="764"/>
                    <a:pt x="613" y="764"/>
                  </a:cubicBezTo>
                  <a:cubicBezTo>
                    <a:pt x="605" y="765"/>
                    <a:pt x="603" y="775"/>
                    <a:pt x="609" y="778"/>
                  </a:cubicBezTo>
                  <a:cubicBezTo>
                    <a:pt x="614" y="782"/>
                    <a:pt x="621" y="779"/>
                    <a:pt x="622" y="773"/>
                  </a:cubicBezTo>
                  <a:close/>
                  <a:moveTo>
                    <a:pt x="728" y="812"/>
                  </a:moveTo>
                  <a:cubicBezTo>
                    <a:pt x="729" y="807"/>
                    <a:pt x="727" y="803"/>
                    <a:pt x="721" y="803"/>
                  </a:cubicBezTo>
                  <a:cubicBezTo>
                    <a:pt x="714" y="805"/>
                    <a:pt x="711" y="814"/>
                    <a:pt x="716" y="817"/>
                  </a:cubicBezTo>
                  <a:cubicBezTo>
                    <a:pt x="720" y="820"/>
                    <a:pt x="726" y="817"/>
                    <a:pt x="728" y="812"/>
                  </a:cubicBezTo>
                  <a:close/>
                  <a:moveTo>
                    <a:pt x="731" y="792"/>
                  </a:moveTo>
                  <a:cubicBezTo>
                    <a:pt x="732" y="789"/>
                    <a:pt x="730" y="784"/>
                    <a:pt x="724" y="784"/>
                  </a:cubicBezTo>
                  <a:cubicBezTo>
                    <a:pt x="717" y="785"/>
                    <a:pt x="714" y="794"/>
                    <a:pt x="719" y="798"/>
                  </a:cubicBezTo>
                  <a:cubicBezTo>
                    <a:pt x="723" y="801"/>
                    <a:pt x="730" y="798"/>
                    <a:pt x="731" y="792"/>
                  </a:cubicBezTo>
                  <a:close/>
                  <a:moveTo>
                    <a:pt x="712" y="773"/>
                  </a:moveTo>
                  <a:cubicBezTo>
                    <a:pt x="713" y="769"/>
                    <a:pt x="711" y="764"/>
                    <a:pt x="705" y="764"/>
                  </a:cubicBezTo>
                  <a:cubicBezTo>
                    <a:pt x="697" y="765"/>
                    <a:pt x="695" y="775"/>
                    <a:pt x="700" y="778"/>
                  </a:cubicBezTo>
                  <a:cubicBezTo>
                    <a:pt x="704" y="782"/>
                    <a:pt x="711" y="779"/>
                    <a:pt x="712" y="773"/>
                  </a:cubicBezTo>
                  <a:close/>
                  <a:moveTo>
                    <a:pt x="804" y="659"/>
                  </a:moveTo>
                  <a:cubicBezTo>
                    <a:pt x="796" y="661"/>
                    <a:pt x="794" y="672"/>
                    <a:pt x="800" y="675"/>
                  </a:cubicBezTo>
                  <a:cubicBezTo>
                    <a:pt x="804" y="678"/>
                    <a:pt x="810" y="675"/>
                    <a:pt x="812" y="669"/>
                  </a:cubicBezTo>
                  <a:cubicBezTo>
                    <a:pt x="812" y="664"/>
                    <a:pt x="810" y="659"/>
                    <a:pt x="804" y="659"/>
                  </a:cubicBezTo>
                  <a:close/>
                  <a:moveTo>
                    <a:pt x="87" y="760"/>
                  </a:moveTo>
                  <a:cubicBezTo>
                    <a:pt x="90" y="761"/>
                    <a:pt x="90" y="757"/>
                    <a:pt x="89" y="753"/>
                  </a:cubicBezTo>
                  <a:cubicBezTo>
                    <a:pt x="88" y="749"/>
                    <a:pt x="85" y="743"/>
                    <a:pt x="82" y="744"/>
                  </a:cubicBezTo>
                  <a:cubicBezTo>
                    <a:pt x="78" y="745"/>
                    <a:pt x="83" y="758"/>
                    <a:pt x="87" y="760"/>
                  </a:cubicBezTo>
                  <a:close/>
                  <a:moveTo>
                    <a:pt x="297" y="991"/>
                  </a:moveTo>
                  <a:cubicBezTo>
                    <a:pt x="295" y="989"/>
                    <a:pt x="291" y="985"/>
                    <a:pt x="288" y="986"/>
                  </a:cubicBezTo>
                  <a:cubicBezTo>
                    <a:pt x="285" y="986"/>
                    <a:pt x="291" y="993"/>
                    <a:pt x="296" y="995"/>
                  </a:cubicBezTo>
                  <a:cubicBezTo>
                    <a:pt x="299" y="997"/>
                    <a:pt x="300" y="996"/>
                    <a:pt x="300" y="995"/>
                  </a:cubicBezTo>
                  <a:cubicBezTo>
                    <a:pt x="299" y="994"/>
                    <a:pt x="299" y="993"/>
                    <a:pt x="297" y="991"/>
                  </a:cubicBezTo>
                  <a:close/>
                  <a:moveTo>
                    <a:pt x="78" y="760"/>
                  </a:moveTo>
                  <a:cubicBezTo>
                    <a:pt x="80" y="761"/>
                    <a:pt x="81" y="757"/>
                    <a:pt x="79" y="753"/>
                  </a:cubicBezTo>
                  <a:cubicBezTo>
                    <a:pt x="78" y="749"/>
                    <a:pt x="75" y="743"/>
                    <a:pt x="73" y="744"/>
                  </a:cubicBezTo>
                  <a:cubicBezTo>
                    <a:pt x="69" y="745"/>
                    <a:pt x="75" y="758"/>
                    <a:pt x="78" y="760"/>
                  </a:cubicBezTo>
                  <a:close/>
                  <a:moveTo>
                    <a:pt x="82" y="732"/>
                  </a:moveTo>
                  <a:cubicBezTo>
                    <a:pt x="81" y="728"/>
                    <a:pt x="78" y="723"/>
                    <a:pt x="76" y="723"/>
                  </a:cubicBezTo>
                  <a:cubicBezTo>
                    <a:pt x="72" y="725"/>
                    <a:pt x="76" y="738"/>
                    <a:pt x="80" y="739"/>
                  </a:cubicBezTo>
                  <a:cubicBezTo>
                    <a:pt x="82" y="740"/>
                    <a:pt x="83" y="737"/>
                    <a:pt x="82" y="732"/>
                  </a:cubicBezTo>
                  <a:close/>
                  <a:moveTo>
                    <a:pt x="103" y="799"/>
                  </a:moveTo>
                  <a:cubicBezTo>
                    <a:pt x="106" y="800"/>
                    <a:pt x="106" y="797"/>
                    <a:pt x="104" y="792"/>
                  </a:cubicBezTo>
                  <a:cubicBezTo>
                    <a:pt x="103" y="789"/>
                    <a:pt x="100" y="784"/>
                    <a:pt x="97" y="784"/>
                  </a:cubicBezTo>
                  <a:cubicBezTo>
                    <a:pt x="93" y="786"/>
                    <a:pt x="100" y="798"/>
                    <a:pt x="103" y="799"/>
                  </a:cubicBezTo>
                  <a:close/>
                  <a:moveTo>
                    <a:pt x="95" y="780"/>
                  </a:moveTo>
                  <a:cubicBezTo>
                    <a:pt x="97" y="781"/>
                    <a:pt x="98" y="777"/>
                    <a:pt x="96" y="773"/>
                  </a:cubicBezTo>
                  <a:cubicBezTo>
                    <a:pt x="95" y="769"/>
                    <a:pt x="92" y="764"/>
                    <a:pt x="89" y="764"/>
                  </a:cubicBezTo>
                  <a:cubicBezTo>
                    <a:pt x="85" y="766"/>
                    <a:pt x="91" y="778"/>
                    <a:pt x="95" y="780"/>
                  </a:cubicBezTo>
                  <a:close/>
                  <a:moveTo>
                    <a:pt x="95" y="799"/>
                  </a:moveTo>
                  <a:cubicBezTo>
                    <a:pt x="97" y="800"/>
                    <a:pt x="97" y="797"/>
                    <a:pt x="95" y="792"/>
                  </a:cubicBezTo>
                  <a:cubicBezTo>
                    <a:pt x="94" y="789"/>
                    <a:pt x="90" y="784"/>
                    <a:pt x="88" y="784"/>
                  </a:cubicBezTo>
                  <a:cubicBezTo>
                    <a:pt x="85" y="786"/>
                    <a:pt x="91" y="798"/>
                    <a:pt x="95" y="799"/>
                  </a:cubicBezTo>
                  <a:close/>
                  <a:moveTo>
                    <a:pt x="86" y="780"/>
                  </a:moveTo>
                  <a:cubicBezTo>
                    <a:pt x="88" y="781"/>
                    <a:pt x="88" y="777"/>
                    <a:pt x="87" y="773"/>
                  </a:cubicBezTo>
                  <a:cubicBezTo>
                    <a:pt x="85" y="769"/>
                    <a:pt x="82" y="764"/>
                    <a:pt x="80" y="764"/>
                  </a:cubicBezTo>
                  <a:cubicBezTo>
                    <a:pt x="77" y="766"/>
                    <a:pt x="82" y="778"/>
                    <a:pt x="86" y="780"/>
                  </a:cubicBezTo>
                  <a:close/>
                  <a:moveTo>
                    <a:pt x="112" y="818"/>
                  </a:moveTo>
                  <a:cubicBezTo>
                    <a:pt x="115" y="819"/>
                    <a:pt x="115" y="816"/>
                    <a:pt x="113" y="812"/>
                  </a:cubicBezTo>
                  <a:cubicBezTo>
                    <a:pt x="111" y="808"/>
                    <a:pt x="108" y="803"/>
                    <a:pt x="106" y="803"/>
                  </a:cubicBezTo>
                  <a:cubicBezTo>
                    <a:pt x="102" y="805"/>
                    <a:pt x="109" y="817"/>
                    <a:pt x="112" y="818"/>
                  </a:cubicBezTo>
                  <a:close/>
                  <a:moveTo>
                    <a:pt x="106" y="773"/>
                  </a:moveTo>
                  <a:cubicBezTo>
                    <a:pt x="105" y="769"/>
                    <a:pt x="102" y="764"/>
                    <a:pt x="99" y="764"/>
                  </a:cubicBezTo>
                  <a:cubicBezTo>
                    <a:pt x="95" y="766"/>
                    <a:pt x="101" y="778"/>
                    <a:pt x="105" y="780"/>
                  </a:cubicBezTo>
                  <a:cubicBezTo>
                    <a:pt x="107" y="781"/>
                    <a:pt x="108" y="777"/>
                    <a:pt x="106" y="773"/>
                  </a:cubicBezTo>
                  <a:close/>
                  <a:moveTo>
                    <a:pt x="78" y="780"/>
                  </a:moveTo>
                  <a:cubicBezTo>
                    <a:pt x="80" y="780"/>
                    <a:pt x="80" y="777"/>
                    <a:pt x="78" y="773"/>
                  </a:cubicBezTo>
                  <a:cubicBezTo>
                    <a:pt x="77" y="769"/>
                    <a:pt x="74" y="764"/>
                    <a:pt x="72" y="764"/>
                  </a:cubicBezTo>
                  <a:cubicBezTo>
                    <a:pt x="69" y="766"/>
                    <a:pt x="76" y="779"/>
                    <a:pt x="78" y="780"/>
                  </a:cubicBezTo>
                  <a:close/>
                  <a:moveTo>
                    <a:pt x="104" y="818"/>
                  </a:moveTo>
                  <a:cubicBezTo>
                    <a:pt x="106" y="819"/>
                    <a:pt x="106" y="817"/>
                    <a:pt x="104" y="812"/>
                  </a:cubicBezTo>
                  <a:cubicBezTo>
                    <a:pt x="104" y="812"/>
                    <a:pt x="104" y="812"/>
                    <a:pt x="104" y="812"/>
                  </a:cubicBezTo>
                  <a:cubicBezTo>
                    <a:pt x="102" y="808"/>
                    <a:pt x="99" y="803"/>
                    <a:pt x="97" y="803"/>
                  </a:cubicBezTo>
                  <a:cubicBezTo>
                    <a:pt x="94" y="805"/>
                    <a:pt x="100" y="817"/>
                    <a:pt x="104" y="818"/>
                  </a:cubicBezTo>
                  <a:close/>
                  <a:moveTo>
                    <a:pt x="71" y="739"/>
                  </a:moveTo>
                  <a:cubicBezTo>
                    <a:pt x="73" y="740"/>
                    <a:pt x="74" y="737"/>
                    <a:pt x="72" y="732"/>
                  </a:cubicBezTo>
                  <a:cubicBezTo>
                    <a:pt x="71" y="728"/>
                    <a:pt x="69" y="723"/>
                    <a:pt x="66" y="723"/>
                  </a:cubicBezTo>
                  <a:cubicBezTo>
                    <a:pt x="63" y="725"/>
                    <a:pt x="67" y="738"/>
                    <a:pt x="71" y="739"/>
                  </a:cubicBezTo>
                  <a:close/>
                  <a:moveTo>
                    <a:pt x="113" y="799"/>
                  </a:moveTo>
                  <a:cubicBezTo>
                    <a:pt x="115" y="800"/>
                    <a:pt x="116" y="797"/>
                    <a:pt x="114" y="792"/>
                  </a:cubicBezTo>
                  <a:cubicBezTo>
                    <a:pt x="113" y="789"/>
                    <a:pt x="110" y="784"/>
                    <a:pt x="107" y="784"/>
                  </a:cubicBezTo>
                  <a:cubicBezTo>
                    <a:pt x="103" y="786"/>
                    <a:pt x="109" y="798"/>
                    <a:pt x="113" y="799"/>
                  </a:cubicBezTo>
                  <a:close/>
                  <a:moveTo>
                    <a:pt x="63" y="739"/>
                  </a:moveTo>
                  <a:cubicBezTo>
                    <a:pt x="65" y="740"/>
                    <a:pt x="65" y="737"/>
                    <a:pt x="64" y="732"/>
                  </a:cubicBezTo>
                  <a:cubicBezTo>
                    <a:pt x="63" y="728"/>
                    <a:pt x="60" y="723"/>
                    <a:pt x="58" y="723"/>
                  </a:cubicBezTo>
                  <a:cubicBezTo>
                    <a:pt x="54" y="725"/>
                    <a:pt x="60" y="739"/>
                    <a:pt x="63" y="739"/>
                  </a:cubicBezTo>
                  <a:close/>
                  <a:moveTo>
                    <a:pt x="122" y="818"/>
                  </a:moveTo>
                  <a:cubicBezTo>
                    <a:pt x="124" y="819"/>
                    <a:pt x="125" y="816"/>
                    <a:pt x="123" y="812"/>
                  </a:cubicBezTo>
                  <a:cubicBezTo>
                    <a:pt x="121" y="808"/>
                    <a:pt x="118" y="803"/>
                    <a:pt x="115" y="803"/>
                  </a:cubicBezTo>
                  <a:cubicBezTo>
                    <a:pt x="111" y="805"/>
                    <a:pt x="118" y="817"/>
                    <a:pt x="122" y="818"/>
                  </a:cubicBezTo>
                  <a:close/>
                  <a:moveTo>
                    <a:pt x="70" y="760"/>
                  </a:moveTo>
                  <a:cubicBezTo>
                    <a:pt x="72" y="760"/>
                    <a:pt x="72" y="757"/>
                    <a:pt x="71" y="753"/>
                  </a:cubicBezTo>
                  <a:cubicBezTo>
                    <a:pt x="69" y="749"/>
                    <a:pt x="67" y="743"/>
                    <a:pt x="65" y="744"/>
                  </a:cubicBezTo>
                  <a:cubicBezTo>
                    <a:pt x="61" y="746"/>
                    <a:pt x="68" y="759"/>
                    <a:pt x="70" y="760"/>
                  </a:cubicBezTo>
                  <a:close/>
                  <a:moveTo>
                    <a:pt x="721" y="918"/>
                  </a:moveTo>
                  <a:cubicBezTo>
                    <a:pt x="722" y="915"/>
                    <a:pt x="722" y="910"/>
                    <a:pt x="717" y="911"/>
                  </a:cubicBezTo>
                  <a:cubicBezTo>
                    <a:pt x="710" y="912"/>
                    <a:pt x="707" y="920"/>
                    <a:pt x="711" y="923"/>
                  </a:cubicBezTo>
                  <a:cubicBezTo>
                    <a:pt x="714" y="925"/>
                    <a:pt x="719" y="922"/>
                    <a:pt x="721" y="918"/>
                  </a:cubicBezTo>
                  <a:close/>
                  <a:moveTo>
                    <a:pt x="619" y="922"/>
                  </a:moveTo>
                  <a:cubicBezTo>
                    <a:pt x="623" y="925"/>
                    <a:pt x="629" y="923"/>
                    <a:pt x="630" y="918"/>
                  </a:cubicBezTo>
                  <a:cubicBezTo>
                    <a:pt x="631" y="915"/>
                    <a:pt x="629" y="910"/>
                    <a:pt x="624" y="911"/>
                  </a:cubicBezTo>
                  <a:cubicBezTo>
                    <a:pt x="617" y="912"/>
                    <a:pt x="615" y="919"/>
                    <a:pt x="619" y="922"/>
                  </a:cubicBezTo>
                  <a:close/>
                  <a:moveTo>
                    <a:pt x="640" y="964"/>
                  </a:moveTo>
                  <a:cubicBezTo>
                    <a:pt x="641" y="961"/>
                    <a:pt x="640" y="957"/>
                    <a:pt x="635" y="957"/>
                  </a:cubicBezTo>
                  <a:cubicBezTo>
                    <a:pt x="629" y="958"/>
                    <a:pt x="626" y="965"/>
                    <a:pt x="630" y="968"/>
                  </a:cubicBezTo>
                  <a:cubicBezTo>
                    <a:pt x="633" y="970"/>
                    <a:pt x="639" y="968"/>
                    <a:pt x="640" y="964"/>
                  </a:cubicBezTo>
                  <a:close/>
                  <a:moveTo>
                    <a:pt x="660" y="949"/>
                  </a:moveTo>
                  <a:cubicBezTo>
                    <a:pt x="661" y="946"/>
                    <a:pt x="660" y="942"/>
                    <a:pt x="655" y="942"/>
                  </a:cubicBezTo>
                  <a:cubicBezTo>
                    <a:pt x="649" y="943"/>
                    <a:pt x="646" y="950"/>
                    <a:pt x="650" y="953"/>
                  </a:cubicBezTo>
                  <a:cubicBezTo>
                    <a:pt x="653" y="956"/>
                    <a:pt x="659" y="953"/>
                    <a:pt x="660" y="949"/>
                  </a:cubicBezTo>
                  <a:close/>
                  <a:moveTo>
                    <a:pt x="648" y="991"/>
                  </a:moveTo>
                  <a:cubicBezTo>
                    <a:pt x="650" y="988"/>
                    <a:pt x="648" y="985"/>
                    <a:pt x="644" y="986"/>
                  </a:cubicBezTo>
                  <a:cubicBezTo>
                    <a:pt x="639" y="986"/>
                    <a:pt x="636" y="993"/>
                    <a:pt x="639" y="995"/>
                  </a:cubicBezTo>
                  <a:cubicBezTo>
                    <a:pt x="642" y="997"/>
                    <a:pt x="647" y="995"/>
                    <a:pt x="648" y="991"/>
                  </a:cubicBezTo>
                  <a:close/>
                  <a:moveTo>
                    <a:pt x="623" y="889"/>
                  </a:moveTo>
                  <a:cubicBezTo>
                    <a:pt x="627" y="892"/>
                    <a:pt x="633" y="890"/>
                    <a:pt x="635" y="884"/>
                  </a:cubicBezTo>
                  <a:cubicBezTo>
                    <a:pt x="635" y="881"/>
                    <a:pt x="633" y="877"/>
                    <a:pt x="628" y="877"/>
                  </a:cubicBezTo>
                  <a:cubicBezTo>
                    <a:pt x="621" y="878"/>
                    <a:pt x="619" y="886"/>
                    <a:pt x="623" y="889"/>
                  </a:cubicBezTo>
                  <a:close/>
                  <a:moveTo>
                    <a:pt x="656" y="964"/>
                  </a:moveTo>
                  <a:cubicBezTo>
                    <a:pt x="658" y="960"/>
                    <a:pt x="656" y="957"/>
                    <a:pt x="652" y="957"/>
                  </a:cubicBezTo>
                  <a:cubicBezTo>
                    <a:pt x="646" y="958"/>
                    <a:pt x="643" y="965"/>
                    <a:pt x="647" y="968"/>
                  </a:cubicBezTo>
                  <a:cubicBezTo>
                    <a:pt x="649" y="970"/>
                    <a:pt x="655" y="968"/>
                    <a:pt x="656" y="964"/>
                  </a:cubicBezTo>
                  <a:close/>
                  <a:moveTo>
                    <a:pt x="652" y="978"/>
                  </a:moveTo>
                  <a:cubicBezTo>
                    <a:pt x="654" y="975"/>
                    <a:pt x="652" y="972"/>
                    <a:pt x="648" y="972"/>
                  </a:cubicBezTo>
                  <a:cubicBezTo>
                    <a:pt x="642" y="973"/>
                    <a:pt x="640" y="979"/>
                    <a:pt x="643" y="982"/>
                  </a:cubicBezTo>
                  <a:cubicBezTo>
                    <a:pt x="646" y="984"/>
                    <a:pt x="651" y="982"/>
                    <a:pt x="652" y="978"/>
                  </a:cubicBezTo>
                  <a:close/>
                  <a:moveTo>
                    <a:pt x="621" y="906"/>
                  </a:moveTo>
                  <a:cubicBezTo>
                    <a:pt x="625" y="909"/>
                    <a:pt x="631" y="906"/>
                    <a:pt x="633" y="901"/>
                  </a:cubicBezTo>
                  <a:cubicBezTo>
                    <a:pt x="633" y="898"/>
                    <a:pt x="632" y="894"/>
                    <a:pt x="626" y="894"/>
                  </a:cubicBezTo>
                  <a:cubicBezTo>
                    <a:pt x="619" y="895"/>
                    <a:pt x="617" y="903"/>
                    <a:pt x="621" y="906"/>
                  </a:cubicBezTo>
                  <a:close/>
                  <a:moveTo>
                    <a:pt x="86" y="723"/>
                  </a:moveTo>
                  <a:cubicBezTo>
                    <a:pt x="81" y="725"/>
                    <a:pt x="86" y="738"/>
                    <a:pt x="90" y="739"/>
                  </a:cubicBezTo>
                  <a:cubicBezTo>
                    <a:pt x="93" y="740"/>
                    <a:pt x="94" y="737"/>
                    <a:pt x="93" y="732"/>
                  </a:cubicBezTo>
                  <a:cubicBezTo>
                    <a:pt x="92" y="728"/>
                    <a:pt x="89" y="723"/>
                    <a:pt x="86" y="723"/>
                  </a:cubicBezTo>
                  <a:close/>
                  <a:moveTo>
                    <a:pt x="783" y="831"/>
                  </a:moveTo>
                  <a:cubicBezTo>
                    <a:pt x="784" y="827"/>
                    <a:pt x="783" y="822"/>
                    <a:pt x="778" y="822"/>
                  </a:cubicBezTo>
                  <a:cubicBezTo>
                    <a:pt x="771" y="824"/>
                    <a:pt x="768" y="833"/>
                    <a:pt x="772" y="836"/>
                  </a:cubicBezTo>
                  <a:cubicBezTo>
                    <a:pt x="775" y="839"/>
                    <a:pt x="781" y="836"/>
                    <a:pt x="783" y="831"/>
                  </a:cubicBezTo>
                  <a:close/>
                  <a:moveTo>
                    <a:pt x="721" y="849"/>
                  </a:moveTo>
                  <a:cubicBezTo>
                    <a:pt x="722" y="846"/>
                    <a:pt x="720" y="841"/>
                    <a:pt x="715" y="841"/>
                  </a:cubicBezTo>
                  <a:cubicBezTo>
                    <a:pt x="707" y="842"/>
                    <a:pt x="705" y="851"/>
                    <a:pt x="709" y="854"/>
                  </a:cubicBezTo>
                  <a:cubicBezTo>
                    <a:pt x="713" y="857"/>
                    <a:pt x="719" y="854"/>
                    <a:pt x="721" y="849"/>
                  </a:cubicBezTo>
                  <a:close/>
                  <a:moveTo>
                    <a:pt x="736" y="867"/>
                  </a:moveTo>
                  <a:cubicBezTo>
                    <a:pt x="737" y="864"/>
                    <a:pt x="736" y="859"/>
                    <a:pt x="730" y="859"/>
                  </a:cubicBezTo>
                  <a:cubicBezTo>
                    <a:pt x="723" y="860"/>
                    <a:pt x="720" y="869"/>
                    <a:pt x="725" y="872"/>
                  </a:cubicBezTo>
                  <a:cubicBezTo>
                    <a:pt x="728" y="875"/>
                    <a:pt x="734" y="872"/>
                    <a:pt x="736" y="867"/>
                  </a:cubicBezTo>
                  <a:close/>
                  <a:moveTo>
                    <a:pt x="778" y="849"/>
                  </a:moveTo>
                  <a:cubicBezTo>
                    <a:pt x="779" y="846"/>
                    <a:pt x="779" y="841"/>
                    <a:pt x="773" y="841"/>
                  </a:cubicBezTo>
                  <a:cubicBezTo>
                    <a:pt x="766" y="842"/>
                    <a:pt x="763" y="852"/>
                    <a:pt x="767" y="855"/>
                  </a:cubicBezTo>
                  <a:cubicBezTo>
                    <a:pt x="770" y="857"/>
                    <a:pt x="776" y="854"/>
                    <a:pt x="778" y="849"/>
                  </a:cubicBezTo>
                  <a:close/>
                  <a:moveTo>
                    <a:pt x="744" y="831"/>
                  </a:moveTo>
                  <a:cubicBezTo>
                    <a:pt x="745" y="827"/>
                    <a:pt x="744" y="822"/>
                    <a:pt x="738" y="822"/>
                  </a:cubicBezTo>
                  <a:cubicBezTo>
                    <a:pt x="731" y="824"/>
                    <a:pt x="728" y="833"/>
                    <a:pt x="733" y="836"/>
                  </a:cubicBezTo>
                  <a:cubicBezTo>
                    <a:pt x="737" y="839"/>
                    <a:pt x="743" y="836"/>
                    <a:pt x="744" y="831"/>
                  </a:cubicBezTo>
                  <a:close/>
                  <a:moveTo>
                    <a:pt x="740" y="849"/>
                  </a:moveTo>
                  <a:cubicBezTo>
                    <a:pt x="741" y="846"/>
                    <a:pt x="740" y="841"/>
                    <a:pt x="735" y="841"/>
                  </a:cubicBezTo>
                  <a:cubicBezTo>
                    <a:pt x="727" y="842"/>
                    <a:pt x="724" y="852"/>
                    <a:pt x="729" y="855"/>
                  </a:cubicBezTo>
                  <a:cubicBezTo>
                    <a:pt x="733" y="857"/>
                    <a:pt x="739" y="854"/>
                    <a:pt x="740" y="849"/>
                  </a:cubicBezTo>
                  <a:close/>
                  <a:moveTo>
                    <a:pt x="738" y="918"/>
                  </a:moveTo>
                  <a:cubicBezTo>
                    <a:pt x="740" y="915"/>
                    <a:pt x="739" y="910"/>
                    <a:pt x="734" y="911"/>
                  </a:cubicBezTo>
                  <a:cubicBezTo>
                    <a:pt x="727" y="912"/>
                    <a:pt x="724" y="920"/>
                    <a:pt x="728" y="923"/>
                  </a:cubicBezTo>
                  <a:cubicBezTo>
                    <a:pt x="731" y="925"/>
                    <a:pt x="736" y="922"/>
                    <a:pt x="738" y="918"/>
                  </a:cubicBezTo>
                  <a:close/>
                  <a:moveTo>
                    <a:pt x="749" y="884"/>
                  </a:moveTo>
                  <a:cubicBezTo>
                    <a:pt x="751" y="881"/>
                    <a:pt x="750" y="877"/>
                    <a:pt x="745" y="877"/>
                  </a:cubicBezTo>
                  <a:cubicBezTo>
                    <a:pt x="737" y="878"/>
                    <a:pt x="734" y="887"/>
                    <a:pt x="738" y="890"/>
                  </a:cubicBezTo>
                  <a:cubicBezTo>
                    <a:pt x="742" y="892"/>
                    <a:pt x="747" y="889"/>
                    <a:pt x="749" y="884"/>
                  </a:cubicBezTo>
                  <a:close/>
                  <a:moveTo>
                    <a:pt x="754" y="867"/>
                  </a:moveTo>
                  <a:cubicBezTo>
                    <a:pt x="756" y="863"/>
                    <a:pt x="755" y="859"/>
                    <a:pt x="749" y="859"/>
                  </a:cubicBezTo>
                  <a:cubicBezTo>
                    <a:pt x="742" y="860"/>
                    <a:pt x="739" y="869"/>
                    <a:pt x="743" y="872"/>
                  </a:cubicBezTo>
                  <a:cubicBezTo>
                    <a:pt x="747" y="875"/>
                    <a:pt x="753" y="872"/>
                    <a:pt x="754" y="867"/>
                  </a:cubicBezTo>
                  <a:close/>
                  <a:moveTo>
                    <a:pt x="744" y="901"/>
                  </a:moveTo>
                  <a:cubicBezTo>
                    <a:pt x="745" y="898"/>
                    <a:pt x="745" y="894"/>
                    <a:pt x="739" y="894"/>
                  </a:cubicBezTo>
                  <a:cubicBezTo>
                    <a:pt x="733" y="895"/>
                    <a:pt x="729" y="904"/>
                    <a:pt x="733" y="906"/>
                  </a:cubicBezTo>
                  <a:cubicBezTo>
                    <a:pt x="736" y="909"/>
                    <a:pt x="742" y="906"/>
                    <a:pt x="744" y="901"/>
                  </a:cubicBezTo>
                  <a:close/>
                  <a:moveTo>
                    <a:pt x="784" y="884"/>
                  </a:moveTo>
                  <a:cubicBezTo>
                    <a:pt x="786" y="881"/>
                    <a:pt x="785" y="877"/>
                    <a:pt x="780" y="877"/>
                  </a:cubicBezTo>
                  <a:cubicBezTo>
                    <a:pt x="774" y="878"/>
                    <a:pt x="770" y="887"/>
                    <a:pt x="774" y="890"/>
                  </a:cubicBezTo>
                  <a:cubicBezTo>
                    <a:pt x="777" y="892"/>
                    <a:pt x="782" y="889"/>
                    <a:pt x="784" y="884"/>
                  </a:cubicBezTo>
                  <a:close/>
                  <a:moveTo>
                    <a:pt x="773" y="867"/>
                  </a:moveTo>
                  <a:cubicBezTo>
                    <a:pt x="774" y="864"/>
                    <a:pt x="774" y="859"/>
                    <a:pt x="768" y="859"/>
                  </a:cubicBezTo>
                  <a:cubicBezTo>
                    <a:pt x="761" y="860"/>
                    <a:pt x="758" y="869"/>
                    <a:pt x="762" y="872"/>
                  </a:cubicBezTo>
                  <a:cubicBezTo>
                    <a:pt x="765" y="875"/>
                    <a:pt x="771" y="872"/>
                    <a:pt x="773" y="867"/>
                  </a:cubicBezTo>
                  <a:close/>
                  <a:moveTo>
                    <a:pt x="764" y="831"/>
                  </a:moveTo>
                  <a:cubicBezTo>
                    <a:pt x="765" y="827"/>
                    <a:pt x="764" y="822"/>
                    <a:pt x="758" y="822"/>
                  </a:cubicBezTo>
                  <a:cubicBezTo>
                    <a:pt x="751" y="824"/>
                    <a:pt x="748" y="833"/>
                    <a:pt x="753" y="836"/>
                  </a:cubicBezTo>
                  <a:cubicBezTo>
                    <a:pt x="756" y="839"/>
                    <a:pt x="762" y="836"/>
                    <a:pt x="764" y="831"/>
                  </a:cubicBezTo>
                  <a:close/>
                  <a:moveTo>
                    <a:pt x="717" y="867"/>
                  </a:moveTo>
                  <a:cubicBezTo>
                    <a:pt x="718" y="864"/>
                    <a:pt x="717" y="859"/>
                    <a:pt x="711" y="859"/>
                  </a:cubicBezTo>
                  <a:cubicBezTo>
                    <a:pt x="704" y="860"/>
                    <a:pt x="701" y="869"/>
                    <a:pt x="705" y="872"/>
                  </a:cubicBezTo>
                  <a:cubicBezTo>
                    <a:pt x="709" y="875"/>
                    <a:pt x="715" y="872"/>
                    <a:pt x="717" y="867"/>
                  </a:cubicBezTo>
                  <a:close/>
                  <a:moveTo>
                    <a:pt x="673" y="964"/>
                  </a:moveTo>
                  <a:cubicBezTo>
                    <a:pt x="674" y="960"/>
                    <a:pt x="673" y="957"/>
                    <a:pt x="668" y="957"/>
                  </a:cubicBezTo>
                  <a:cubicBezTo>
                    <a:pt x="662" y="958"/>
                    <a:pt x="659" y="966"/>
                    <a:pt x="663" y="968"/>
                  </a:cubicBezTo>
                  <a:cubicBezTo>
                    <a:pt x="666" y="970"/>
                    <a:pt x="671" y="968"/>
                    <a:pt x="673" y="964"/>
                  </a:cubicBezTo>
                  <a:close/>
                  <a:moveTo>
                    <a:pt x="689" y="964"/>
                  </a:moveTo>
                  <a:cubicBezTo>
                    <a:pt x="690" y="960"/>
                    <a:pt x="689" y="957"/>
                    <a:pt x="685" y="957"/>
                  </a:cubicBezTo>
                  <a:cubicBezTo>
                    <a:pt x="679" y="958"/>
                    <a:pt x="676" y="966"/>
                    <a:pt x="679" y="968"/>
                  </a:cubicBezTo>
                  <a:cubicBezTo>
                    <a:pt x="682" y="970"/>
                    <a:pt x="687" y="968"/>
                    <a:pt x="689" y="964"/>
                  </a:cubicBezTo>
                  <a:close/>
                  <a:moveTo>
                    <a:pt x="683" y="978"/>
                  </a:moveTo>
                  <a:cubicBezTo>
                    <a:pt x="685" y="975"/>
                    <a:pt x="684" y="972"/>
                    <a:pt x="680" y="972"/>
                  </a:cubicBezTo>
                  <a:cubicBezTo>
                    <a:pt x="674" y="973"/>
                    <a:pt x="671" y="980"/>
                    <a:pt x="674" y="982"/>
                  </a:cubicBezTo>
                  <a:cubicBezTo>
                    <a:pt x="677" y="984"/>
                    <a:pt x="681" y="982"/>
                    <a:pt x="683" y="978"/>
                  </a:cubicBezTo>
                  <a:close/>
                  <a:moveTo>
                    <a:pt x="716" y="934"/>
                  </a:moveTo>
                  <a:cubicBezTo>
                    <a:pt x="717" y="930"/>
                    <a:pt x="716" y="927"/>
                    <a:pt x="712" y="927"/>
                  </a:cubicBezTo>
                  <a:cubicBezTo>
                    <a:pt x="705" y="928"/>
                    <a:pt x="702" y="936"/>
                    <a:pt x="706" y="938"/>
                  </a:cubicBezTo>
                  <a:cubicBezTo>
                    <a:pt x="708" y="940"/>
                    <a:pt x="714" y="938"/>
                    <a:pt x="716" y="934"/>
                  </a:cubicBezTo>
                  <a:close/>
                  <a:moveTo>
                    <a:pt x="668" y="978"/>
                  </a:moveTo>
                  <a:cubicBezTo>
                    <a:pt x="669" y="975"/>
                    <a:pt x="668" y="972"/>
                    <a:pt x="664" y="972"/>
                  </a:cubicBezTo>
                  <a:cubicBezTo>
                    <a:pt x="658" y="973"/>
                    <a:pt x="655" y="980"/>
                    <a:pt x="659" y="982"/>
                  </a:cubicBezTo>
                  <a:cubicBezTo>
                    <a:pt x="661" y="984"/>
                    <a:pt x="666" y="982"/>
                    <a:pt x="668" y="978"/>
                  </a:cubicBezTo>
                  <a:close/>
                  <a:moveTo>
                    <a:pt x="698" y="978"/>
                  </a:moveTo>
                  <a:cubicBezTo>
                    <a:pt x="700" y="975"/>
                    <a:pt x="699" y="972"/>
                    <a:pt x="695" y="972"/>
                  </a:cubicBezTo>
                  <a:cubicBezTo>
                    <a:pt x="689" y="973"/>
                    <a:pt x="686" y="980"/>
                    <a:pt x="689" y="982"/>
                  </a:cubicBezTo>
                  <a:cubicBezTo>
                    <a:pt x="691" y="984"/>
                    <a:pt x="696" y="982"/>
                    <a:pt x="698" y="978"/>
                  </a:cubicBezTo>
                  <a:close/>
                  <a:moveTo>
                    <a:pt x="710" y="949"/>
                  </a:moveTo>
                  <a:cubicBezTo>
                    <a:pt x="712" y="946"/>
                    <a:pt x="711" y="942"/>
                    <a:pt x="706" y="942"/>
                  </a:cubicBezTo>
                  <a:cubicBezTo>
                    <a:pt x="700" y="943"/>
                    <a:pt x="697" y="951"/>
                    <a:pt x="700" y="954"/>
                  </a:cubicBezTo>
                  <a:cubicBezTo>
                    <a:pt x="703" y="956"/>
                    <a:pt x="708" y="953"/>
                    <a:pt x="710" y="949"/>
                  </a:cubicBezTo>
                  <a:close/>
                  <a:moveTo>
                    <a:pt x="704" y="964"/>
                  </a:moveTo>
                  <a:cubicBezTo>
                    <a:pt x="706" y="961"/>
                    <a:pt x="705" y="957"/>
                    <a:pt x="701" y="957"/>
                  </a:cubicBezTo>
                  <a:cubicBezTo>
                    <a:pt x="695" y="958"/>
                    <a:pt x="691" y="966"/>
                    <a:pt x="695" y="968"/>
                  </a:cubicBezTo>
                  <a:cubicBezTo>
                    <a:pt x="697" y="970"/>
                    <a:pt x="702" y="968"/>
                    <a:pt x="704" y="964"/>
                  </a:cubicBezTo>
                  <a:close/>
                  <a:moveTo>
                    <a:pt x="759" y="849"/>
                  </a:moveTo>
                  <a:cubicBezTo>
                    <a:pt x="761" y="845"/>
                    <a:pt x="759" y="841"/>
                    <a:pt x="754" y="841"/>
                  </a:cubicBezTo>
                  <a:cubicBezTo>
                    <a:pt x="747" y="842"/>
                    <a:pt x="744" y="852"/>
                    <a:pt x="748" y="855"/>
                  </a:cubicBezTo>
                  <a:cubicBezTo>
                    <a:pt x="752" y="857"/>
                    <a:pt x="758" y="854"/>
                    <a:pt x="759" y="849"/>
                  </a:cubicBezTo>
                  <a:close/>
                  <a:moveTo>
                    <a:pt x="660" y="849"/>
                  </a:moveTo>
                  <a:cubicBezTo>
                    <a:pt x="660" y="846"/>
                    <a:pt x="659" y="841"/>
                    <a:pt x="652" y="841"/>
                  </a:cubicBezTo>
                  <a:cubicBezTo>
                    <a:pt x="645" y="842"/>
                    <a:pt x="643" y="851"/>
                    <a:pt x="648" y="854"/>
                  </a:cubicBezTo>
                  <a:cubicBezTo>
                    <a:pt x="652" y="857"/>
                    <a:pt x="658" y="854"/>
                    <a:pt x="660" y="849"/>
                  </a:cubicBezTo>
                  <a:close/>
                  <a:moveTo>
                    <a:pt x="671" y="901"/>
                  </a:moveTo>
                  <a:cubicBezTo>
                    <a:pt x="672" y="898"/>
                    <a:pt x="671" y="894"/>
                    <a:pt x="665" y="894"/>
                  </a:cubicBezTo>
                  <a:cubicBezTo>
                    <a:pt x="658" y="895"/>
                    <a:pt x="656" y="903"/>
                    <a:pt x="660" y="906"/>
                  </a:cubicBezTo>
                  <a:cubicBezTo>
                    <a:pt x="663" y="909"/>
                    <a:pt x="669" y="906"/>
                    <a:pt x="671" y="901"/>
                  </a:cubicBezTo>
                  <a:close/>
                  <a:moveTo>
                    <a:pt x="657" y="867"/>
                  </a:moveTo>
                  <a:cubicBezTo>
                    <a:pt x="658" y="863"/>
                    <a:pt x="656" y="859"/>
                    <a:pt x="650" y="859"/>
                  </a:cubicBezTo>
                  <a:cubicBezTo>
                    <a:pt x="643" y="860"/>
                    <a:pt x="641" y="869"/>
                    <a:pt x="645" y="872"/>
                  </a:cubicBezTo>
                  <a:cubicBezTo>
                    <a:pt x="650" y="875"/>
                    <a:pt x="656" y="872"/>
                    <a:pt x="657" y="867"/>
                  </a:cubicBezTo>
                  <a:close/>
                  <a:moveTo>
                    <a:pt x="674" y="884"/>
                  </a:moveTo>
                  <a:cubicBezTo>
                    <a:pt x="675" y="881"/>
                    <a:pt x="674" y="877"/>
                    <a:pt x="668" y="877"/>
                  </a:cubicBezTo>
                  <a:cubicBezTo>
                    <a:pt x="661" y="878"/>
                    <a:pt x="659" y="886"/>
                    <a:pt x="663" y="889"/>
                  </a:cubicBezTo>
                  <a:cubicBezTo>
                    <a:pt x="667" y="892"/>
                    <a:pt x="673" y="890"/>
                    <a:pt x="674" y="884"/>
                  </a:cubicBezTo>
                  <a:close/>
                  <a:moveTo>
                    <a:pt x="694" y="884"/>
                  </a:moveTo>
                  <a:cubicBezTo>
                    <a:pt x="695" y="881"/>
                    <a:pt x="693" y="877"/>
                    <a:pt x="688" y="877"/>
                  </a:cubicBezTo>
                  <a:cubicBezTo>
                    <a:pt x="681" y="878"/>
                    <a:pt x="678" y="886"/>
                    <a:pt x="682" y="889"/>
                  </a:cubicBezTo>
                  <a:cubicBezTo>
                    <a:pt x="686" y="892"/>
                    <a:pt x="692" y="889"/>
                    <a:pt x="694" y="884"/>
                  </a:cubicBezTo>
                  <a:close/>
                  <a:moveTo>
                    <a:pt x="690" y="901"/>
                  </a:moveTo>
                  <a:cubicBezTo>
                    <a:pt x="691" y="898"/>
                    <a:pt x="690" y="894"/>
                    <a:pt x="684" y="894"/>
                  </a:cubicBezTo>
                  <a:cubicBezTo>
                    <a:pt x="677" y="895"/>
                    <a:pt x="675" y="903"/>
                    <a:pt x="679" y="906"/>
                  </a:cubicBezTo>
                  <a:cubicBezTo>
                    <a:pt x="682" y="909"/>
                    <a:pt x="688" y="906"/>
                    <a:pt x="690" y="901"/>
                  </a:cubicBezTo>
                  <a:close/>
                  <a:moveTo>
                    <a:pt x="677" y="867"/>
                  </a:moveTo>
                  <a:cubicBezTo>
                    <a:pt x="678" y="864"/>
                    <a:pt x="677" y="859"/>
                    <a:pt x="671" y="859"/>
                  </a:cubicBezTo>
                  <a:cubicBezTo>
                    <a:pt x="664" y="860"/>
                    <a:pt x="661" y="869"/>
                    <a:pt x="666" y="872"/>
                  </a:cubicBezTo>
                  <a:cubicBezTo>
                    <a:pt x="670" y="875"/>
                    <a:pt x="676" y="872"/>
                    <a:pt x="677" y="867"/>
                  </a:cubicBezTo>
                  <a:close/>
                  <a:moveTo>
                    <a:pt x="655" y="884"/>
                  </a:moveTo>
                  <a:cubicBezTo>
                    <a:pt x="655" y="881"/>
                    <a:pt x="654" y="877"/>
                    <a:pt x="648" y="877"/>
                  </a:cubicBezTo>
                  <a:cubicBezTo>
                    <a:pt x="641" y="878"/>
                    <a:pt x="639" y="886"/>
                    <a:pt x="643" y="889"/>
                  </a:cubicBezTo>
                  <a:cubicBezTo>
                    <a:pt x="647" y="892"/>
                    <a:pt x="653" y="889"/>
                    <a:pt x="655" y="884"/>
                  </a:cubicBezTo>
                  <a:close/>
                  <a:moveTo>
                    <a:pt x="649" y="918"/>
                  </a:moveTo>
                  <a:cubicBezTo>
                    <a:pt x="650" y="915"/>
                    <a:pt x="648" y="910"/>
                    <a:pt x="643" y="911"/>
                  </a:cubicBezTo>
                  <a:cubicBezTo>
                    <a:pt x="636" y="912"/>
                    <a:pt x="634" y="919"/>
                    <a:pt x="638" y="922"/>
                  </a:cubicBezTo>
                  <a:cubicBezTo>
                    <a:pt x="642" y="925"/>
                    <a:pt x="648" y="923"/>
                    <a:pt x="649" y="918"/>
                  </a:cubicBezTo>
                  <a:close/>
                  <a:moveTo>
                    <a:pt x="633" y="953"/>
                  </a:moveTo>
                  <a:cubicBezTo>
                    <a:pt x="636" y="956"/>
                    <a:pt x="642" y="953"/>
                    <a:pt x="643" y="949"/>
                  </a:cubicBezTo>
                  <a:cubicBezTo>
                    <a:pt x="644" y="946"/>
                    <a:pt x="643" y="942"/>
                    <a:pt x="638" y="942"/>
                  </a:cubicBezTo>
                  <a:cubicBezTo>
                    <a:pt x="631" y="943"/>
                    <a:pt x="629" y="950"/>
                    <a:pt x="633" y="953"/>
                  </a:cubicBezTo>
                  <a:close/>
                  <a:moveTo>
                    <a:pt x="683" y="831"/>
                  </a:moveTo>
                  <a:cubicBezTo>
                    <a:pt x="684" y="827"/>
                    <a:pt x="682" y="822"/>
                    <a:pt x="676" y="822"/>
                  </a:cubicBezTo>
                  <a:cubicBezTo>
                    <a:pt x="668" y="824"/>
                    <a:pt x="666" y="832"/>
                    <a:pt x="671" y="836"/>
                  </a:cubicBezTo>
                  <a:cubicBezTo>
                    <a:pt x="675" y="839"/>
                    <a:pt x="682" y="836"/>
                    <a:pt x="683" y="831"/>
                  </a:cubicBezTo>
                  <a:close/>
                  <a:moveTo>
                    <a:pt x="646" y="934"/>
                  </a:moveTo>
                  <a:cubicBezTo>
                    <a:pt x="647" y="931"/>
                    <a:pt x="646" y="927"/>
                    <a:pt x="640" y="927"/>
                  </a:cubicBezTo>
                  <a:cubicBezTo>
                    <a:pt x="634" y="928"/>
                    <a:pt x="632" y="935"/>
                    <a:pt x="636" y="938"/>
                  </a:cubicBezTo>
                  <a:cubicBezTo>
                    <a:pt x="639" y="941"/>
                    <a:pt x="645" y="938"/>
                    <a:pt x="646" y="934"/>
                  </a:cubicBezTo>
                  <a:close/>
                  <a:moveTo>
                    <a:pt x="628" y="836"/>
                  </a:moveTo>
                  <a:cubicBezTo>
                    <a:pt x="633" y="839"/>
                    <a:pt x="639" y="836"/>
                    <a:pt x="640" y="831"/>
                  </a:cubicBezTo>
                  <a:cubicBezTo>
                    <a:pt x="641" y="827"/>
                    <a:pt x="639" y="822"/>
                    <a:pt x="633" y="822"/>
                  </a:cubicBezTo>
                  <a:cubicBezTo>
                    <a:pt x="625" y="824"/>
                    <a:pt x="623" y="832"/>
                    <a:pt x="628" y="836"/>
                  </a:cubicBezTo>
                  <a:close/>
                  <a:moveTo>
                    <a:pt x="680" y="849"/>
                  </a:moveTo>
                  <a:cubicBezTo>
                    <a:pt x="681" y="846"/>
                    <a:pt x="680" y="841"/>
                    <a:pt x="674" y="841"/>
                  </a:cubicBezTo>
                  <a:cubicBezTo>
                    <a:pt x="666" y="842"/>
                    <a:pt x="664" y="851"/>
                    <a:pt x="668" y="854"/>
                  </a:cubicBezTo>
                  <a:cubicBezTo>
                    <a:pt x="672" y="857"/>
                    <a:pt x="679" y="854"/>
                    <a:pt x="680" y="849"/>
                  </a:cubicBezTo>
                  <a:close/>
                  <a:moveTo>
                    <a:pt x="650" y="836"/>
                  </a:moveTo>
                  <a:cubicBezTo>
                    <a:pt x="654" y="839"/>
                    <a:pt x="661" y="836"/>
                    <a:pt x="662" y="831"/>
                  </a:cubicBezTo>
                  <a:cubicBezTo>
                    <a:pt x="663" y="827"/>
                    <a:pt x="661" y="822"/>
                    <a:pt x="655" y="822"/>
                  </a:cubicBezTo>
                  <a:cubicBezTo>
                    <a:pt x="647" y="824"/>
                    <a:pt x="645" y="832"/>
                    <a:pt x="650" y="836"/>
                  </a:cubicBezTo>
                  <a:close/>
                  <a:moveTo>
                    <a:pt x="664" y="934"/>
                  </a:moveTo>
                  <a:cubicBezTo>
                    <a:pt x="665" y="930"/>
                    <a:pt x="663" y="927"/>
                    <a:pt x="659" y="927"/>
                  </a:cubicBezTo>
                  <a:cubicBezTo>
                    <a:pt x="652" y="928"/>
                    <a:pt x="650" y="935"/>
                    <a:pt x="653" y="938"/>
                  </a:cubicBezTo>
                  <a:cubicBezTo>
                    <a:pt x="657" y="941"/>
                    <a:pt x="662" y="938"/>
                    <a:pt x="664" y="934"/>
                  </a:cubicBezTo>
                  <a:close/>
                  <a:moveTo>
                    <a:pt x="694" y="949"/>
                  </a:moveTo>
                  <a:cubicBezTo>
                    <a:pt x="695" y="946"/>
                    <a:pt x="694" y="942"/>
                    <a:pt x="690" y="942"/>
                  </a:cubicBezTo>
                  <a:cubicBezTo>
                    <a:pt x="683" y="943"/>
                    <a:pt x="680" y="951"/>
                    <a:pt x="684" y="954"/>
                  </a:cubicBezTo>
                  <a:cubicBezTo>
                    <a:pt x="687" y="956"/>
                    <a:pt x="692" y="953"/>
                    <a:pt x="694" y="949"/>
                  </a:cubicBezTo>
                  <a:close/>
                  <a:moveTo>
                    <a:pt x="686" y="918"/>
                  </a:moveTo>
                  <a:cubicBezTo>
                    <a:pt x="687" y="915"/>
                    <a:pt x="686" y="910"/>
                    <a:pt x="681" y="911"/>
                  </a:cubicBezTo>
                  <a:cubicBezTo>
                    <a:pt x="674" y="912"/>
                    <a:pt x="671" y="919"/>
                    <a:pt x="675" y="922"/>
                  </a:cubicBezTo>
                  <a:cubicBezTo>
                    <a:pt x="678" y="925"/>
                    <a:pt x="684" y="923"/>
                    <a:pt x="686" y="918"/>
                  </a:cubicBezTo>
                  <a:close/>
                  <a:moveTo>
                    <a:pt x="677" y="949"/>
                  </a:moveTo>
                  <a:cubicBezTo>
                    <a:pt x="678" y="946"/>
                    <a:pt x="677" y="942"/>
                    <a:pt x="673" y="942"/>
                  </a:cubicBezTo>
                  <a:cubicBezTo>
                    <a:pt x="666" y="943"/>
                    <a:pt x="664" y="950"/>
                    <a:pt x="667" y="953"/>
                  </a:cubicBezTo>
                  <a:cubicBezTo>
                    <a:pt x="670" y="956"/>
                    <a:pt x="675" y="953"/>
                    <a:pt x="677" y="949"/>
                  </a:cubicBezTo>
                  <a:close/>
                  <a:moveTo>
                    <a:pt x="682" y="934"/>
                  </a:moveTo>
                  <a:cubicBezTo>
                    <a:pt x="683" y="930"/>
                    <a:pt x="681" y="927"/>
                    <a:pt x="677" y="927"/>
                  </a:cubicBezTo>
                  <a:cubicBezTo>
                    <a:pt x="670" y="928"/>
                    <a:pt x="667" y="935"/>
                    <a:pt x="671" y="938"/>
                  </a:cubicBezTo>
                  <a:cubicBezTo>
                    <a:pt x="674" y="941"/>
                    <a:pt x="680" y="938"/>
                    <a:pt x="682" y="934"/>
                  </a:cubicBezTo>
                  <a:close/>
                  <a:moveTo>
                    <a:pt x="708" y="901"/>
                  </a:moveTo>
                  <a:cubicBezTo>
                    <a:pt x="709" y="898"/>
                    <a:pt x="708" y="894"/>
                    <a:pt x="703" y="894"/>
                  </a:cubicBezTo>
                  <a:cubicBezTo>
                    <a:pt x="696" y="895"/>
                    <a:pt x="693" y="904"/>
                    <a:pt x="697" y="906"/>
                  </a:cubicBezTo>
                  <a:cubicBezTo>
                    <a:pt x="701" y="909"/>
                    <a:pt x="706" y="906"/>
                    <a:pt x="708" y="901"/>
                  </a:cubicBezTo>
                  <a:close/>
                  <a:moveTo>
                    <a:pt x="704" y="918"/>
                  </a:moveTo>
                  <a:cubicBezTo>
                    <a:pt x="705" y="915"/>
                    <a:pt x="704" y="910"/>
                    <a:pt x="699" y="911"/>
                  </a:cubicBezTo>
                  <a:cubicBezTo>
                    <a:pt x="692" y="912"/>
                    <a:pt x="689" y="920"/>
                    <a:pt x="693" y="923"/>
                  </a:cubicBezTo>
                  <a:cubicBezTo>
                    <a:pt x="696" y="925"/>
                    <a:pt x="702" y="922"/>
                    <a:pt x="704" y="918"/>
                  </a:cubicBezTo>
                  <a:close/>
                  <a:moveTo>
                    <a:pt x="699" y="934"/>
                  </a:moveTo>
                  <a:cubicBezTo>
                    <a:pt x="700" y="930"/>
                    <a:pt x="699" y="927"/>
                    <a:pt x="694" y="927"/>
                  </a:cubicBezTo>
                  <a:cubicBezTo>
                    <a:pt x="688" y="928"/>
                    <a:pt x="685" y="936"/>
                    <a:pt x="689" y="938"/>
                  </a:cubicBezTo>
                  <a:cubicBezTo>
                    <a:pt x="692" y="940"/>
                    <a:pt x="697" y="938"/>
                    <a:pt x="699" y="934"/>
                  </a:cubicBezTo>
                  <a:close/>
                  <a:moveTo>
                    <a:pt x="704" y="831"/>
                  </a:moveTo>
                  <a:cubicBezTo>
                    <a:pt x="705" y="827"/>
                    <a:pt x="703" y="822"/>
                    <a:pt x="697" y="822"/>
                  </a:cubicBezTo>
                  <a:cubicBezTo>
                    <a:pt x="690" y="824"/>
                    <a:pt x="687" y="832"/>
                    <a:pt x="692" y="836"/>
                  </a:cubicBezTo>
                  <a:cubicBezTo>
                    <a:pt x="696" y="839"/>
                    <a:pt x="702" y="836"/>
                    <a:pt x="704" y="831"/>
                  </a:cubicBezTo>
                  <a:close/>
                  <a:moveTo>
                    <a:pt x="697" y="867"/>
                  </a:moveTo>
                  <a:cubicBezTo>
                    <a:pt x="698" y="864"/>
                    <a:pt x="697" y="859"/>
                    <a:pt x="691" y="859"/>
                  </a:cubicBezTo>
                  <a:cubicBezTo>
                    <a:pt x="684" y="860"/>
                    <a:pt x="681" y="869"/>
                    <a:pt x="686" y="872"/>
                  </a:cubicBezTo>
                  <a:cubicBezTo>
                    <a:pt x="689" y="875"/>
                    <a:pt x="696" y="872"/>
                    <a:pt x="697" y="867"/>
                  </a:cubicBezTo>
                  <a:close/>
                  <a:moveTo>
                    <a:pt x="701" y="849"/>
                  </a:moveTo>
                  <a:cubicBezTo>
                    <a:pt x="702" y="846"/>
                    <a:pt x="700" y="841"/>
                    <a:pt x="694" y="841"/>
                  </a:cubicBezTo>
                  <a:cubicBezTo>
                    <a:pt x="687" y="842"/>
                    <a:pt x="684" y="851"/>
                    <a:pt x="689" y="854"/>
                  </a:cubicBezTo>
                  <a:cubicBezTo>
                    <a:pt x="693" y="857"/>
                    <a:pt x="699" y="854"/>
                    <a:pt x="701" y="849"/>
                  </a:cubicBezTo>
                  <a:close/>
                  <a:moveTo>
                    <a:pt x="724" y="831"/>
                  </a:moveTo>
                  <a:cubicBezTo>
                    <a:pt x="725" y="827"/>
                    <a:pt x="724" y="822"/>
                    <a:pt x="718" y="822"/>
                  </a:cubicBezTo>
                  <a:cubicBezTo>
                    <a:pt x="711" y="824"/>
                    <a:pt x="708" y="832"/>
                    <a:pt x="712" y="836"/>
                  </a:cubicBezTo>
                  <a:cubicBezTo>
                    <a:pt x="716" y="839"/>
                    <a:pt x="723" y="836"/>
                    <a:pt x="724" y="831"/>
                  </a:cubicBezTo>
                  <a:close/>
                  <a:moveTo>
                    <a:pt x="713" y="884"/>
                  </a:moveTo>
                  <a:cubicBezTo>
                    <a:pt x="714" y="881"/>
                    <a:pt x="712" y="877"/>
                    <a:pt x="707" y="877"/>
                  </a:cubicBezTo>
                  <a:cubicBezTo>
                    <a:pt x="700" y="878"/>
                    <a:pt x="697" y="887"/>
                    <a:pt x="702" y="890"/>
                  </a:cubicBezTo>
                  <a:cubicBezTo>
                    <a:pt x="705" y="892"/>
                    <a:pt x="711" y="889"/>
                    <a:pt x="713" y="884"/>
                  </a:cubicBezTo>
                  <a:close/>
                  <a:moveTo>
                    <a:pt x="668" y="918"/>
                  </a:moveTo>
                  <a:cubicBezTo>
                    <a:pt x="669" y="915"/>
                    <a:pt x="667" y="910"/>
                    <a:pt x="662" y="911"/>
                  </a:cubicBezTo>
                  <a:cubicBezTo>
                    <a:pt x="655" y="912"/>
                    <a:pt x="653" y="919"/>
                    <a:pt x="657" y="922"/>
                  </a:cubicBezTo>
                  <a:cubicBezTo>
                    <a:pt x="660" y="925"/>
                    <a:pt x="666" y="923"/>
                    <a:pt x="668" y="918"/>
                  </a:cubicBezTo>
                  <a:close/>
                  <a:moveTo>
                    <a:pt x="652" y="901"/>
                  </a:moveTo>
                  <a:cubicBezTo>
                    <a:pt x="653" y="898"/>
                    <a:pt x="651" y="894"/>
                    <a:pt x="646" y="894"/>
                  </a:cubicBezTo>
                  <a:cubicBezTo>
                    <a:pt x="639" y="895"/>
                    <a:pt x="636" y="903"/>
                    <a:pt x="641" y="906"/>
                  </a:cubicBezTo>
                  <a:cubicBezTo>
                    <a:pt x="645" y="909"/>
                    <a:pt x="651" y="906"/>
                    <a:pt x="652" y="901"/>
                  </a:cubicBezTo>
                  <a:close/>
                  <a:moveTo>
                    <a:pt x="627" y="854"/>
                  </a:moveTo>
                  <a:cubicBezTo>
                    <a:pt x="631" y="857"/>
                    <a:pt x="637" y="854"/>
                    <a:pt x="639" y="849"/>
                  </a:cubicBezTo>
                  <a:cubicBezTo>
                    <a:pt x="639" y="846"/>
                    <a:pt x="637" y="841"/>
                    <a:pt x="631" y="841"/>
                  </a:cubicBezTo>
                  <a:cubicBezTo>
                    <a:pt x="624" y="842"/>
                    <a:pt x="622" y="851"/>
                    <a:pt x="627" y="854"/>
                  </a:cubicBezTo>
                  <a:close/>
                  <a:moveTo>
                    <a:pt x="731" y="884"/>
                  </a:moveTo>
                  <a:cubicBezTo>
                    <a:pt x="732" y="881"/>
                    <a:pt x="731" y="877"/>
                    <a:pt x="726" y="877"/>
                  </a:cubicBezTo>
                  <a:cubicBezTo>
                    <a:pt x="719" y="878"/>
                    <a:pt x="716" y="887"/>
                    <a:pt x="720" y="890"/>
                  </a:cubicBezTo>
                  <a:cubicBezTo>
                    <a:pt x="724" y="892"/>
                    <a:pt x="729" y="889"/>
                    <a:pt x="731" y="884"/>
                  </a:cubicBezTo>
                  <a:close/>
                  <a:moveTo>
                    <a:pt x="254" y="901"/>
                  </a:moveTo>
                  <a:cubicBezTo>
                    <a:pt x="253" y="898"/>
                    <a:pt x="249" y="894"/>
                    <a:pt x="245" y="894"/>
                  </a:cubicBezTo>
                  <a:cubicBezTo>
                    <a:pt x="241" y="895"/>
                    <a:pt x="245" y="903"/>
                    <a:pt x="250" y="906"/>
                  </a:cubicBezTo>
                  <a:cubicBezTo>
                    <a:pt x="254" y="908"/>
                    <a:pt x="256" y="907"/>
                    <a:pt x="255" y="903"/>
                  </a:cubicBezTo>
                  <a:cubicBezTo>
                    <a:pt x="255" y="903"/>
                    <a:pt x="255" y="902"/>
                    <a:pt x="254" y="901"/>
                  </a:cubicBezTo>
                  <a:close/>
                  <a:moveTo>
                    <a:pt x="260" y="886"/>
                  </a:moveTo>
                  <a:cubicBezTo>
                    <a:pt x="260" y="885"/>
                    <a:pt x="260" y="885"/>
                    <a:pt x="259" y="884"/>
                  </a:cubicBezTo>
                  <a:cubicBezTo>
                    <a:pt x="258" y="881"/>
                    <a:pt x="254" y="877"/>
                    <a:pt x="250" y="877"/>
                  </a:cubicBezTo>
                  <a:cubicBezTo>
                    <a:pt x="246" y="878"/>
                    <a:pt x="249" y="886"/>
                    <a:pt x="254" y="889"/>
                  </a:cubicBezTo>
                  <a:cubicBezTo>
                    <a:pt x="258" y="892"/>
                    <a:pt x="261" y="890"/>
                    <a:pt x="260" y="886"/>
                  </a:cubicBezTo>
                  <a:close/>
                  <a:moveTo>
                    <a:pt x="264" y="918"/>
                  </a:moveTo>
                  <a:cubicBezTo>
                    <a:pt x="262" y="915"/>
                    <a:pt x="258" y="910"/>
                    <a:pt x="255" y="911"/>
                  </a:cubicBezTo>
                  <a:cubicBezTo>
                    <a:pt x="251" y="912"/>
                    <a:pt x="255" y="919"/>
                    <a:pt x="260" y="922"/>
                  </a:cubicBezTo>
                  <a:cubicBezTo>
                    <a:pt x="263" y="924"/>
                    <a:pt x="266" y="923"/>
                    <a:pt x="265" y="920"/>
                  </a:cubicBezTo>
                  <a:cubicBezTo>
                    <a:pt x="265" y="919"/>
                    <a:pt x="264" y="919"/>
                    <a:pt x="264" y="918"/>
                  </a:cubicBezTo>
                  <a:close/>
                  <a:moveTo>
                    <a:pt x="246" y="872"/>
                  </a:moveTo>
                  <a:cubicBezTo>
                    <a:pt x="250" y="875"/>
                    <a:pt x="253" y="873"/>
                    <a:pt x="252" y="868"/>
                  </a:cubicBezTo>
                  <a:cubicBezTo>
                    <a:pt x="252" y="868"/>
                    <a:pt x="251" y="867"/>
                    <a:pt x="251" y="867"/>
                  </a:cubicBezTo>
                  <a:cubicBezTo>
                    <a:pt x="250" y="863"/>
                    <a:pt x="246" y="859"/>
                    <a:pt x="242" y="859"/>
                  </a:cubicBezTo>
                  <a:cubicBezTo>
                    <a:pt x="237" y="860"/>
                    <a:pt x="240" y="869"/>
                    <a:pt x="246" y="872"/>
                  </a:cubicBezTo>
                  <a:close/>
                  <a:moveTo>
                    <a:pt x="267" y="868"/>
                  </a:moveTo>
                  <a:cubicBezTo>
                    <a:pt x="267" y="868"/>
                    <a:pt x="267" y="867"/>
                    <a:pt x="266" y="867"/>
                  </a:cubicBezTo>
                  <a:cubicBezTo>
                    <a:pt x="265" y="863"/>
                    <a:pt x="261" y="859"/>
                    <a:pt x="257" y="859"/>
                  </a:cubicBezTo>
                  <a:cubicBezTo>
                    <a:pt x="252" y="860"/>
                    <a:pt x="255" y="869"/>
                    <a:pt x="260" y="872"/>
                  </a:cubicBezTo>
                  <a:cubicBezTo>
                    <a:pt x="265" y="875"/>
                    <a:pt x="268" y="873"/>
                    <a:pt x="267" y="868"/>
                  </a:cubicBezTo>
                  <a:close/>
                  <a:moveTo>
                    <a:pt x="243" y="849"/>
                  </a:moveTo>
                  <a:cubicBezTo>
                    <a:pt x="242" y="846"/>
                    <a:pt x="238" y="841"/>
                    <a:pt x="234" y="841"/>
                  </a:cubicBezTo>
                  <a:cubicBezTo>
                    <a:pt x="229" y="842"/>
                    <a:pt x="232" y="851"/>
                    <a:pt x="237" y="854"/>
                  </a:cubicBezTo>
                  <a:cubicBezTo>
                    <a:pt x="241" y="857"/>
                    <a:pt x="245" y="855"/>
                    <a:pt x="244" y="850"/>
                  </a:cubicBezTo>
                  <a:cubicBezTo>
                    <a:pt x="244" y="850"/>
                    <a:pt x="243" y="849"/>
                    <a:pt x="243" y="849"/>
                  </a:cubicBezTo>
                  <a:close/>
                  <a:moveTo>
                    <a:pt x="274" y="934"/>
                  </a:moveTo>
                  <a:cubicBezTo>
                    <a:pt x="272" y="931"/>
                    <a:pt x="268" y="927"/>
                    <a:pt x="265" y="927"/>
                  </a:cubicBezTo>
                  <a:cubicBezTo>
                    <a:pt x="261" y="928"/>
                    <a:pt x="265" y="935"/>
                    <a:pt x="270" y="938"/>
                  </a:cubicBezTo>
                  <a:cubicBezTo>
                    <a:pt x="274" y="940"/>
                    <a:pt x="276" y="939"/>
                    <a:pt x="275" y="936"/>
                  </a:cubicBezTo>
                  <a:cubicBezTo>
                    <a:pt x="275" y="935"/>
                    <a:pt x="274" y="934"/>
                    <a:pt x="274" y="934"/>
                  </a:cubicBezTo>
                  <a:close/>
                  <a:moveTo>
                    <a:pt x="281" y="953"/>
                  </a:moveTo>
                  <a:cubicBezTo>
                    <a:pt x="284" y="955"/>
                    <a:pt x="286" y="954"/>
                    <a:pt x="286" y="952"/>
                  </a:cubicBezTo>
                  <a:cubicBezTo>
                    <a:pt x="285" y="951"/>
                    <a:pt x="285" y="950"/>
                    <a:pt x="284" y="949"/>
                  </a:cubicBezTo>
                  <a:cubicBezTo>
                    <a:pt x="283" y="946"/>
                    <a:pt x="278" y="942"/>
                    <a:pt x="275" y="942"/>
                  </a:cubicBezTo>
                  <a:cubicBezTo>
                    <a:pt x="271" y="943"/>
                    <a:pt x="276" y="950"/>
                    <a:pt x="281" y="953"/>
                  </a:cubicBezTo>
                  <a:close/>
                  <a:moveTo>
                    <a:pt x="228" y="890"/>
                  </a:moveTo>
                  <a:cubicBezTo>
                    <a:pt x="231" y="892"/>
                    <a:pt x="233" y="890"/>
                    <a:pt x="232" y="886"/>
                  </a:cubicBezTo>
                  <a:cubicBezTo>
                    <a:pt x="232" y="886"/>
                    <a:pt x="232" y="885"/>
                    <a:pt x="232" y="884"/>
                  </a:cubicBezTo>
                  <a:cubicBezTo>
                    <a:pt x="230" y="881"/>
                    <a:pt x="226" y="877"/>
                    <a:pt x="222" y="877"/>
                  </a:cubicBezTo>
                  <a:cubicBezTo>
                    <a:pt x="218" y="878"/>
                    <a:pt x="222" y="887"/>
                    <a:pt x="228" y="890"/>
                  </a:cubicBezTo>
                  <a:close/>
                  <a:moveTo>
                    <a:pt x="237" y="867"/>
                  </a:moveTo>
                  <a:cubicBezTo>
                    <a:pt x="235" y="863"/>
                    <a:pt x="231" y="859"/>
                    <a:pt x="227" y="859"/>
                  </a:cubicBezTo>
                  <a:cubicBezTo>
                    <a:pt x="223" y="860"/>
                    <a:pt x="226" y="869"/>
                    <a:pt x="231" y="872"/>
                  </a:cubicBezTo>
                  <a:cubicBezTo>
                    <a:pt x="235" y="874"/>
                    <a:pt x="238" y="873"/>
                    <a:pt x="237" y="869"/>
                  </a:cubicBezTo>
                  <a:cubicBezTo>
                    <a:pt x="237" y="868"/>
                    <a:pt x="237" y="868"/>
                    <a:pt x="237" y="867"/>
                  </a:cubicBezTo>
                  <a:close/>
                  <a:moveTo>
                    <a:pt x="238" y="906"/>
                  </a:moveTo>
                  <a:cubicBezTo>
                    <a:pt x="241" y="908"/>
                    <a:pt x="243" y="907"/>
                    <a:pt x="242" y="903"/>
                  </a:cubicBezTo>
                  <a:cubicBezTo>
                    <a:pt x="242" y="903"/>
                    <a:pt x="241" y="902"/>
                    <a:pt x="241" y="901"/>
                  </a:cubicBezTo>
                  <a:cubicBezTo>
                    <a:pt x="239" y="898"/>
                    <a:pt x="235" y="894"/>
                    <a:pt x="232" y="894"/>
                  </a:cubicBezTo>
                  <a:cubicBezTo>
                    <a:pt x="228" y="895"/>
                    <a:pt x="232" y="904"/>
                    <a:pt x="238" y="906"/>
                  </a:cubicBezTo>
                  <a:close/>
                  <a:moveTo>
                    <a:pt x="247" y="922"/>
                  </a:moveTo>
                  <a:cubicBezTo>
                    <a:pt x="251" y="924"/>
                    <a:pt x="253" y="923"/>
                    <a:pt x="252" y="920"/>
                  </a:cubicBezTo>
                  <a:cubicBezTo>
                    <a:pt x="252" y="920"/>
                    <a:pt x="252" y="919"/>
                    <a:pt x="251" y="918"/>
                  </a:cubicBezTo>
                  <a:cubicBezTo>
                    <a:pt x="249" y="915"/>
                    <a:pt x="245" y="910"/>
                    <a:pt x="242" y="911"/>
                  </a:cubicBezTo>
                  <a:cubicBezTo>
                    <a:pt x="238" y="912"/>
                    <a:pt x="242" y="919"/>
                    <a:pt x="247" y="922"/>
                  </a:cubicBezTo>
                  <a:close/>
                  <a:moveTo>
                    <a:pt x="269" y="953"/>
                  </a:moveTo>
                  <a:cubicBezTo>
                    <a:pt x="273" y="955"/>
                    <a:pt x="275" y="954"/>
                    <a:pt x="274" y="952"/>
                  </a:cubicBezTo>
                  <a:cubicBezTo>
                    <a:pt x="274" y="951"/>
                    <a:pt x="273" y="950"/>
                    <a:pt x="272" y="949"/>
                  </a:cubicBezTo>
                  <a:cubicBezTo>
                    <a:pt x="270" y="946"/>
                    <a:pt x="266" y="942"/>
                    <a:pt x="263" y="942"/>
                  </a:cubicBezTo>
                  <a:cubicBezTo>
                    <a:pt x="260" y="943"/>
                    <a:pt x="264" y="950"/>
                    <a:pt x="269" y="953"/>
                  </a:cubicBezTo>
                  <a:close/>
                  <a:moveTo>
                    <a:pt x="258" y="938"/>
                  </a:moveTo>
                  <a:cubicBezTo>
                    <a:pt x="261" y="940"/>
                    <a:pt x="263" y="939"/>
                    <a:pt x="263" y="936"/>
                  </a:cubicBezTo>
                  <a:cubicBezTo>
                    <a:pt x="263" y="936"/>
                    <a:pt x="262" y="935"/>
                    <a:pt x="262" y="934"/>
                  </a:cubicBezTo>
                  <a:cubicBezTo>
                    <a:pt x="260" y="931"/>
                    <a:pt x="256" y="927"/>
                    <a:pt x="252" y="927"/>
                  </a:cubicBezTo>
                  <a:cubicBezTo>
                    <a:pt x="249" y="928"/>
                    <a:pt x="253" y="935"/>
                    <a:pt x="258" y="938"/>
                  </a:cubicBezTo>
                  <a:close/>
                  <a:moveTo>
                    <a:pt x="223" y="855"/>
                  </a:moveTo>
                  <a:cubicBezTo>
                    <a:pt x="227" y="857"/>
                    <a:pt x="230" y="854"/>
                    <a:pt x="229" y="850"/>
                  </a:cubicBezTo>
                  <a:cubicBezTo>
                    <a:pt x="228" y="850"/>
                    <a:pt x="228" y="849"/>
                    <a:pt x="228" y="849"/>
                  </a:cubicBezTo>
                  <a:cubicBezTo>
                    <a:pt x="227" y="846"/>
                    <a:pt x="223" y="841"/>
                    <a:pt x="219" y="841"/>
                  </a:cubicBezTo>
                  <a:cubicBezTo>
                    <a:pt x="214" y="842"/>
                    <a:pt x="218" y="852"/>
                    <a:pt x="223" y="855"/>
                  </a:cubicBezTo>
                  <a:close/>
                  <a:moveTo>
                    <a:pt x="240" y="889"/>
                  </a:moveTo>
                  <a:cubicBezTo>
                    <a:pt x="244" y="892"/>
                    <a:pt x="247" y="890"/>
                    <a:pt x="246" y="886"/>
                  </a:cubicBezTo>
                  <a:cubicBezTo>
                    <a:pt x="246" y="886"/>
                    <a:pt x="246" y="885"/>
                    <a:pt x="245" y="884"/>
                  </a:cubicBezTo>
                  <a:cubicBezTo>
                    <a:pt x="244" y="881"/>
                    <a:pt x="240" y="877"/>
                    <a:pt x="236" y="877"/>
                  </a:cubicBezTo>
                  <a:cubicBezTo>
                    <a:pt x="232" y="878"/>
                    <a:pt x="235" y="886"/>
                    <a:pt x="240" y="889"/>
                  </a:cubicBezTo>
                  <a:close/>
                  <a:moveTo>
                    <a:pt x="245" y="836"/>
                  </a:moveTo>
                  <a:cubicBezTo>
                    <a:pt x="250" y="839"/>
                    <a:pt x="253" y="836"/>
                    <a:pt x="252" y="831"/>
                  </a:cubicBezTo>
                  <a:cubicBezTo>
                    <a:pt x="252" y="831"/>
                    <a:pt x="252" y="831"/>
                    <a:pt x="252" y="831"/>
                  </a:cubicBezTo>
                  <a:cubicBezTo>
                    <a:pt x="251" y="827"/>
                    <a:pt x="247" y="822"/>
                    <a:pt x="243" y="822"/>
                  </a:cubicBezTo>
                  <a:cubicBezTo>
                    <a:pt x="237" y="824"/>
                    <a:pt x="240" y="832"/>
                    <a:pt x="245" y="836"/>
                  </a:cubicBezTo>
                  <a:close/>
                  <a:moveTo>
                    <a:pt x="269" y="831"/>
                  </a:moveTo>
                  <a:cubicBezTo>
                    <a:pt x="268" y="827"/>
                    <a:pt x="264" y="822"/>
                    <a:pt x="259" y="822"/>
                  </a:cubicBezTo>
                  <a:cubicBezTo>
                    <a:pt x="254" y="824"/>
                    <a:pt x="256" y="832"/>
                    <a:pt x="261" y="836"/>
                  </a:cubicBezTo>
                  <a:cubicBezTo>
                    <a:pt x="266" y="839"/>
                    <a:pt x="270" y="836"/>
                    <a:pt x="269" y="831"/>
                  </a:cubicBezTo>
                  <a:cubicBezTo>
                    <a:pt x="269" y="831"/>
                    <a:pt x="269" y="831"/>
                    <a:pt x="269" y="831"/>
                  </a:cubicBezTo>
                  <a:close/>
                  <a:moveTo>
                    <a:pt x="268" y="901"/>
                  </a:moveTo>
                  <a:cubicBezTo>
                    <a:pt x="267" y="898"/>
                    <a:pt x="263" y="894"/>
                    <a:pt x="259" y="894"/>
                  </a:cubicBezTo>
                  <a:cubicBezTo>
                    <a:pt x="255" y="895"/>
                    <a:pt x="258" y="903"/>
                    <a:pt x="263" y="906"/>
                  </a:cubicBezTo>
                  <a:cubicBezTo>
                    <a:pt x="267" y="908"/>
                    <a:pt x="270" y="907"/>
                    <a:pt x="269" y="903"/>
                  </a:cubicBezTo>
                  <a:cubicBezTo>
                    <a:pt x="269" y="903"/>
                    <a:pt x="269" y="902"/>
                    <a:pt x="268" y="901"/>
                  </a:cubicBezTo>
                  <a:close/>
                  <a:moveTo>
                    <a:pt x="209" y="855"/>
                  </a:moveTo>
                  <a:cubicBezTo>
                    <a:pt x="213" y="857"/>
                    <a:pt x="215" y="855"/>
                    <a:pt x="214" y="850"/>
                  </a:cubicBezTo>
                  <a:cubicBezTo>
                    <a:pt x="214" y="850"/>
                    <a:pt x="214" y="849"/>
                    <a:pt x="214" y="849"/>
                  </a:cubicBezTo>
                  <a:cubicBezTo>
                    <a:pt x="213" y="846"/>
                    <a:pt x="209" y="841"/>
                    <a:pt x="205" y="841"/>
                  </a:cubicBezTo>
                  <a:cubicBezTo>
                    <a:pt x="200" y="842"/>
                    <a:pt x="204" y="852"/>
                    <a:pt x="209" y="855"/>
                  </a:cubicBezTo>
                  <a:close/>
                  <a:moveTo>
                    <a:pt x="206" y="831"/>
                  </a:moveTo>
                  <a:cubicBezTo>
                    <a:pt x="205" y="827"/>
                    <a:pt x="201" y="822"/>
                    <a:pt x="197" y="822"/>
                  </a:cubicBezTo>
                  <a:cubicBezTo>
                    <a:pt x="192" y="824"/>
                    <a:pt x="196" y="833"/>
                    <a:pt x="201" y="836"/>
                  </a:cubicBezTo>
                  <a:cubicBezTo>
                    <a:pt x="205" y="839"/>
                    <a:pt x="207" y="836"/>
                    <a:pt x="206" y="831"/>
                  </a:cubicBezTo>
                  <a:cubicBezTo>
                    <a:pt x="206" y="831"/>
                    <a:pt x="206" y="831"/>
                    <a:pt x="206" y="831"/>
                  </a:cubicBezTo>
                  <a:close/>
                  <a:moveTo>
                    <a:pt x="215" y="836"/>
                  </a:moveTo>
                  <a:cubicBezTo>
                    <a:pt x="219" y="839"/>
                    <a:pt x="222" y="836"/>
                    <a:pt x="221" y="831"/>
                  </a:cubicBezTo>
                  <a:cubicBezTo>
                    <a:pt x="221" y="831"/>
                    <a:pt x="221" y="831"/>
                    <a:pt x="221" y="831"/>
                  </a:cubicBezTo>
                  <a:cubicBezTo>
                    <a:pt x="219" y="827"/>
                    <a:pt x="216" y="822"/>
                    <a:pt x="212" y="822"/>
                  </a:cubicBezTo>
                  <a:cubicBezTo>
                    <a:pt x="206" y="824"/>
                    <a:pt x="210" y="833"/>
                    <a:pt x="215" y="836"/>
                  </a:cubicBezTo>
                  <a:close/>
                  <a:moveTo>
                    <a:pt x="277" y="918"/>
                  </a:moveTo>
                  <a:cubicBezTo>
                    <a:pt x="276" y="915"/>
                    <a:pt x="272" y="910"/>
                    <a:pt x="268" y="911"/>
                  </a:cubicBezTo>
                  <a:cubicBezTo>
                    <a:pt x="264" y="912"/>
                    <a:pt x="268" y="919"/>
                    <a:pt x="273" y="922"/>
                  </a:cubicBezTo>
                  <a:cubicBezTo>
                    <a:pt x="277" y="925"/>
                    <a:pt x="279" y="923"/>
                    <a:pt x="278" y="920"/>
                  </a:cubicBezTo>
                  <a:cubicBezTo>
                    <a:pt x="278" y="919"/>
                    <a:pt x="278" y="918"/>
                    <a:pt x="277" y="918"/>
                  </a:cubicBezTo>
                  <a:close/>
                  <a:moveTo>
                    <a:pt x="236" y="923"/>
                  </a:moveTo>
                  <a:cubicBezTo>
                    <a:pt x="239" y="924"/>
                    <a:pt x="241" y="923"/>
                    <a:pt x="240" y="920"/>
                  </a:cubicBezTo>
                  <a:cubicBezTo>
                    <a:pt x="240" y="920"/>
                    <a:pt x="239" y="919"/>
                    <a:pt x="239" y="918"/>
                  </a:cubicBezTo>
                  <a:cubicBezTo>
                    <a:pt x="237" y="915"/>
                    <a:pt x="233" y="910"/>
                    <a:pt x="230" y="911"/>
                  </a:cubicBezTo>
                  <a:cubicBezTo>
                    <a:pt x="226" y="912"/>
                    <a:pt x="231" y="920"/>
                    <a:pt x="236" y="923"/>
                  </a:cubicBezTo>
                  <a:close/>
                  <a:moveTo>
                    <a:pt x="218" y="872"/>
                  </a:moveTo>
                  <a:cubicBezTo>
                    <a:pt x="222" y="874"/>
                    <a:pt x="224" y="872"/>
                    <a:pt x="223" y="868"/>
                  </a:cubicBezTo>
                  <a:cubicBezTo>
                    <a:pt x="223" y="868"/>
                    <a:pt x="223" y="867"/>
                    <a:pt x="222" y="867"/>
                  </a:cubicBezTo>
                  <a:cubicBezTo>
                    <a:pt x="221" y="863"/>
                    <a:pt x="217" y="859"/>
                    <a:pt x="213" y="859"/>
                  </a:cubicBezTo>
                  <a:cubicBezTo>
                    <a:pt x="209" y="860"/>
                    <a:pt x="213" y="869"/>
                    <a:pt x="218" y="872"/>
                  </a:cubicBezTo>
                  <a:close/>
                  <a:moveTo>
                    <a:pt x="247" y="938"/>
                  </a:moveTo>
                  <a:cubicBezTo>
                    <a:pt x="250" y="940"/>
                    <a:pt x="252" y="939"/>
                    <a:pt x="251" y="936"/>
                  </a:cubicBezTo>
                  <a:cubicBezTo>
                    <a:pt x="251" y="936"/>
                    <a:pt x="250" y="935"/>
                    <a:pt x="250" y="934"/>
                  </a:cubicBezTo>
                  <a:cubicBezTo>
                    <a:pt x="248" y="931"/>
                    <a:pt x="243" y="927"/>
                    <a:pt x="240" y="927"/>
                  </a:cubicBezTo>
                  <a:cubicBezTo>
                    <a:pt x="237" y="928"/>
                    <a:pt x="242" y="936"/>
                    <a:pt x="247" y="938"/>
                  </a:cubicBezTo>
                  <a:close/>
                  <a:moveTo>
                    <a:pt x="225" y="906"/>
                  </a:moveTo>
                  <a:cubicBezTo>
                    <a:pt x="229" y="908"/>
                    <a:pt x="230" y="907"/>
                    <a:pt x="229" y="904"/>
                  </a:cubicBezTo>
                  <a:cubicBezTo>
                    <a:pt x="229" y="903"/>
                    <a:pt x="229" y="902"/>
                    <a:pt x="228" y="901"/>
                  </a:cubicBezTo>
                  <a:cubicBezTo>
                    <a:pt x="227" y="898"/>
                    <a:pt x="223" y="894"/>
                    <a:pt x="219" y="894"/>
                  </a:cubicBezTo>
                  <a:cubicBezTo>
                    <a:pt x="215" y="895"/>
                    <a:pt x="220" y="904"/>
                    <a:pt x="225" y="906"/>
                  </a:cubicBezTo>
                  <a:close/>
                  <a:moveTo>
                    <a:pt x="271" y="968"/>
                  </a:moveTo>
                  <a:cubicBezTo>
                    <a:pt x="273" y="969"/>
                    <a:pt x="275" y="969"/>
                    <a:pt x="274" y="967"/>
                  </a:cubicBezTo>
                  <a:cubicBezTo>
                    <a:pt x="274" y="966"/>
                    <a:pt x="274" y="965"/>
                    <a:pt x="273" y="964"/>
                  </a:cubicBezTo>
                  <a:cubicBezTo>
                    <a:pt x="271" y="961"/>
                    <a:pt x="266" y="957"/>
                    <a:pt x="263" y="957"/>
                  </a:cubicBezTo>
                  <a:cubicBezTo>
                    <a:pt x="260" y="958"/>
                    <a:pt x="266" y="965"/>
                    <a:pt x="271" y="968"/>
                  </a:cubicBezTo>
                  <a:close/>
                  <a:moveTo>
                    <a:pt x="283" y="982"/>
                  </a:moveTo>
                  <a:cubicBezTo>
                    <a:pt x="286" y="983"/>
                    <a:pt x="287" y="983"/>
                    <a:pt x="287" y="981"/>
                  </a:cubicBezTo>
                  <a:cubicBezTo>
                    <a:pt x="287" y="981"/>
                    <a:pt x="286" y="980"/>
                    <a:pt x="285" y="978"/>
                  </a:cubicBezTo>
                  <a:cubicBezTo>
                    <a:pt x="283" y="975"/>
                    <a:pt x="278" y="972"/>
                    <a:pt x="276" y="972"/>
                  </a:cubicBezTo>
                  <a:cubicBezTo>
                    <a:pt x="273" y="973"/>
                    <a:pt x="278" y="979"/>
                    <a:pt x="283" y="982"/>
                  </a:cubicBezTo>
                  <a:close/>
                  <a:moveTo>
                    <a:pt x="258" y="953"/>
                  </a:moveTo>
                  <a:cubicBezTo>
                    <a:pt x="261" y="955"/>
                    <a:pt x="263" y="954"/>
                    <a:pt x="263" y="952"/>
                  </a:cubicBezTo>
                  <a:cubicBezTo>
                    <a:pt x="262" y="952"/>
                    <a:pt x="262" y="950"/>
                    <a:pt x="261" y="949"/>
                  </a:cubicBezTo>
                  <a:cubicBezTo>
                    <a:pt x="259" y="946"/>
                    <a:pt x="255" y="942"/>
                    <a:pt x="252" y="942"/>
                  </a:cubicBezTo>
                  <a:cubicBezTo>
                    <a:pt x="249" y="943"/>
                    <a:pt x="253" y="950"/>
                    <a:pt x="258" y="953"/>
                  </a:cubicBezTo>
                  <a:close/>
                  <a:moveTo>
                    <a:pt x="791" y="867"/>
                  </a:moveTo>
                  <a:cubicBezTo>
                    <a:pt x="792" y="863"/>
                    <a:pt x="791" y="859"/>
                    <a:pt x="786" y="859"/>
                  </a:cubicBezTo>
                  <a:cubicBezTo>
                    <a:pt x="779" y="860"/>
                    <a:pt x="776" y="869"/>
                    <a:pt x="780" y="872"/>
                  </a:cubicBezTo>
                  <a:cubicBezTo>
                    <a:pt x="783" y="875"/>
                    <a:pt x="788" y="872"/>
                    <a:pt x="791" y="867"/>
                  </a:cubicBezTo>
                  <a:close/>
                  <a:moveTo>
                    <a:pt x="288" y="936"/>
                  </a:moveTo>
                  <a:cubicBezTo>
                    <a:pt x="288" y="935"/>
                    <a:pt x="287" y="934"/>
                    <a:pt x="287" y="934"/>
                  </a:cubicBezTo>
                  <a:cubicBezTo>
                    <a:pt x="285" y="931"/>
                    <a:pt x="281" y="927"/>
                    <a:pt x="278" y="927"/>
                  </a:cubicBezTo>
                  <a:cubicBezTo>
                    <a:pt x="274" y="928"/>
                    <a:pt x="277" y="934"/>
                    <a:pt x="282" y="938"/>
                  </a:cubicBezTo>
                  <a:cubicBezTo>
                    <a:pt x="286" y="940"/>
                    <a:pt x="289" y="939"/>
                    <a:pt x="288" y="936"/>
                  </a:cubicBezTo>
                  <a:close/>
                  <a:moveTo>
                    <a:pt x="122" y="723"/>
                  </a:moveTo>
                  <a:cubicBezTo>
                    <a:pt x="117" y="725"/>
                    <a:pt x="120" y="737"/>
                    <a:pt x="125" y="739"/>
                  </a:cubicBezTo>
                  <a:cubicBezTo>
                    <a:pt x="128" y="741"/>
                    <a:pt x="130" y="737"/>
                    <a:pt x="129" y="732"/>
                  </a:cubicBezTo>
                  <a:cubicBezTo>
                    <a:pt x="128" y="728"/>
                    <a:pt x="125" y="723"/>
                    <a:pt x="122" y="723"/>
                  </a:cubicBezTo>
                  <a:close/>
                  <a:moveTo>
                    <a:pt x="154" y="784"/>
                  </a:moveTo>
                  <a:cubicBezTo>
                    <a:pt x="149" y="785"/>
                    <a:pt x="153" y="796"/>
                    <a:pt x="158" y="799"/>
                  </a:cubicBezTo>
                  <a:cubicBezTo>
                    <a:pt x="162" y="801"/>
                    <a:pt x="164" y="798"/>
                    <a:pt x="162" y="792"/>
                  </a:cubicBezTo>
                  <a:cubicBezTo>
                    <a:pt x="161" y="789"/>
                    <a:pt x="158" y="784"/>
                    <a:pt x="154" y="784"/>
                  </a:cubicBezTo>
                  <a:close/>
                  <a:moveTo>
                    <a:pt x="253" y="854"/>
                  </a:moveTo>
                  <a:cubicBezTo>
                    <a:pt x="257" y="857"/>
                    <a:pt x="260" y="855"/>
                    <a:pt x="259" y="850"/>
                  </a:cubicBezTo>
                  <a:cubicBezTo>
                    <a:pt x="259" y="850"/>
                    <a:pt x="259" y="849"/>
                    <a:pt x="259" y="849"/>
                  </a:cubicBezTo>
                  <a:cubicBezTo>
                    <a:pt x="258" y="846"/>
                    <a:pt x="254" y="841"/>
                    <a:pt x="250" y="841"/>
                  </a:cubicBezTo>
                  <a:cubicBezTo>
                    <a:pt x="245" y="842"/>
                    <a:pt x="247" y="851"/>
                    <a:pt x="253" y="854"/>
                  </a:cubicBezTo>
                  <a:close/>
                  <a:moveTo>
                    <a:pt x="141" y="784"/>
                  </a:moveTo>
                  <a:cubicBezTo>
                    <a:pt x="137" y="785"/>
                    <a:pt x="141" y="796"/>
                    <a:pt x="146" y="799"/>
                  </a:cubicBezTo>
                  <a:cubicBezTo>
                    <a:pt x="149" y="801"/>
                    <a:pt x="151" y="798"/>
                    <a:pt x="149" y="793"/>
                  </a:cubicBezTo>
                  <a:cubicBezTo>
                    <a:pt x="149" y="793"/>
                    <a:pt x="149" y="793"/>
                    <a:pt x="149" y="792"/>
                  </a:cubicBezTo>
                  <a:cubicBezTo>
                    <a:pt x="148" y="789"/>
                    <a:pt x="145" y="784"/>
                    <a:pt x="141" y="784"/>
                  </a:cubicBezTo>
                  <a:close/>
                  <a:moveTo>
                    <a:pt x="115" y="744"/>
                  </a:moveTo>
                  <a:cubicBezTo>
                    <a:pt x="110" y="745"/>
                    <a:pt x="114" y="757"/>
                    <a:pt x="119" y="759"/>
                  </a:cubicBezTo>
                  <a:cubicBezTo>
                    <a:pt x="122" y="761"/>
                    <a:pt x="124" y="758"/>
                    <a:pt x="122" y="753"/>
                  </a:cubicBezTo>
                  <a:cubicBezTo>
                    <a:pt x="121" y="749"/>
                    <a:pt x="118" y="743"/>
                    <a:pt x="115" y="744"/>
                  </a:cubicBezTo>
                  <a:close/>
                  <a:moveTo>
                    <a:pt x="135" y="753"/>
                  </a:moveTo>
                  <a:cubicBezTo>
                    <a:pt x="134" y="749"/>
                    <a:pt x="131" y="743"/>
                    <a:pt x="128" y="744"/>
                  </a:cubicBezTo>
                  <a:cubicBezTo>
                    <a:pt x="123" y="745"/>
                    <a:pt x="126" y="756"/>
                    <a:pt x="131" y="759"/>
                  </a:cubicBezTo>
                  <a:cubicBezTo>
                    <a:pt x="135" y="761"/>
                    <a:pt x="137" y="758"/>
                    <a:pt x="135" y="753"/>
                  </a:cubicBezTo>
                  <a:close/>
                  <a:moveTo>
                    <a:pt x="126" y="779"/>
                  </a:moveTo>
                  <a:cubicBezTo>
                    <a:pt x="129" y="781"/>
                    <a:pt x="131" y="778"/>
                    <a:pt x="129" y="773"/>
                  </a:cubicBezTo>
                  <a:cubicBezTo>
                    <a:pt x="128" y="769"/>
                    <a:pt x="125" y="764"/>
                    <a:pt x="122" y="764"/>
                  </a:cubicBezTo>
                  <a:cubicBezTo>
                    <a:pt x="117" y="766"/>
                    <a:pt x="122" y="777"/>
                    <a:pt x="126" y="779"/>
                  </a:cubicBezTo>
                  <a:close/>
                  <a:moveTo>
                    <a:pt x="147" y="764"/>
                  </a:moveTo>
                  <a:cubicBezTo>
                    <a:pt x="142" y="765"/>
                    <a:pt x="146" y="776"/>
                    <a:pt x="151" y="779"/>
                  </a:cubicBezTo>
                  <a:cubicBezTo>
                    <a:pt x="155" y="781"/>
                    <a:pt x="157" y="778"/>
                    <a:pt x="155" y="773"/>
                  </a:cubicBezTo>
                  <a:cubicBezTo>
                    <a:pt x="154" y="769"/>
                    <a:pt x="151" y="764"/>
                    <a:pt x="147" y="764"/>
                  </a:cubicBezTo>
                  <a:close/>
                  <a:moveTo>
                    <a:pt x="809" y="934"/>
                  </a:moveTo>
                  <a:cubicBezTo>
                    <a:pt x="811" y="931"/>
                    <a:pt x="811" y="927"/>
                    <a:pt x="807" y="927"/>
                  </a:cubicBezTo>
                  <a:cubicBezTo>
                    <a:pt x="801" y="928"/>
                    <a:pt x="796" y="936"/>
                    <a:pt x="799" y="939"/>
                  </a:cubicBezTo>
                  <a:cubicBezTo>
                    <a:pt x="801" y="940"/>
                    <a:pt x="806" y="938"/>
                    <a:pt x="809" y="934"/>
                  </a:cubicBezTo>
                  <a:close/>
                  <a:moveTo>
                    <a:pt x="802" y="831"/>
                  </a:moveTo>
                  <a:cubicBezTo>
                    <a:pt x="803" y="827"/>
                    <a:pt x="802" y="822"/>
                    <a:pt x="797" y="822"/>
                  </a:cubicBezTo>
                  <a:cubicBezTo>
                    <a:pt x="790" y="824"/>
                    <a:pt x="786" y="833"/>
                    <a:pt x="791" y="836"/>
                  </a:cubicBezTo>
                  <a:cubicBezTo>
                    <a:pt x="794" y="839"/>
                    <a:pt x="800" y="836"/>
                    <a:pt x="802" y="831"/>
                  </a:cubicBezTo>
                  <a:close/>
                  <a:moveTo>
                    <a:pt x="796" y="849"/>
                  </a:moveTo>
                  <a:cubicBezTo>
                    <a:pt x="798" y="845"/>
                    <a:pt x="797" y="841"/>
                    <a:pt x="792" y="841"/>
                  </a:cubicBezTo>
                  <a:cubicBezTo>
                    <a:pt x="785" y="842"/>
                    <a:pt x="781" y="852"/>
                    <a:pt x="785" y="855"/>
                  </a:cubicBezTo>
                  <a:cubicBezTo>
                    <a:pt x="789" y="857"/>
                    <a:pt x="794" y="854"/>
                    <a:pt x="796" y="849"/>
                  </a:cubicBezTo>
                  <a:close/>
                  <a:moveTo>
                    <a:pt x="104" y="732"/>
                  </a:moveTo>
                  <a:cubicBezTo>
                    <a:pt x="103" y="728"/>
                    <a:pt x="100" y="723"/>
                    <a:pt x="97" y="723"/>
                  </a:cubicBezTo>
                  <a:cubicBezTo>
                    <a:pt x="92" y="725"/>
                    <a:pt x="96" y="737"/>
                    <a:pt x="101" y="739"/>
                  </a:cubicBezTo>
                  <a:cubicBezTo>
                    <a:pt x="104" y="741"/>
                    <a:pt x="105" y="737"/>
                    <a:pt x="104" y="732"/>
                  </a:cubicBezTo>
                  <a:close/>
                  <a:moveTo>
                    <a:pt x="817" y="918"/>
                  </a:moveTo>
                  <a:cubicBezTo>
                    <a:pt x="819" y="915"/>
                    <a:pt x="820" y="910"/>
                    <a:pt x="815" y="911"/>
                  </a:cubicBezTo>
                  <a:cubicBezTo>
                    <a:pt x="809" y="912"/>
                    <a:pt x="804" y="921"/>
                    <a:pt x="808" y="923"/>
                  </a:cubicBezTo>
                  <a:cubicBezTo>
                    <a:pt x="810" y="925"/>
                    <a:pt x="815" y="922"/>
                    <a:pt x="817" y="918"/>
                  </a:cubicBezTo>
                  <a:close/>
                  <a:moveTo>
                    <a:pt x="92" y="744"/>
                  </a:moveTo>
                  <a:cubicBezTo>
                    <a:pt x="88" y="745"/>
                    <a:pt x="93" y="758"/>
                    <a:pt x="97" y="760"/>
                  </a:cubicBezTo>
                  <a:cubicBezTo>
                    <a:pt x="100" y="761"/>
                    <a:pt x="101" y="757"/>
                    <a:pt x="99" y="753"/>
                  </a:cubicBezTo>
                  <a:cubicBezTo>
                    <a:pt x="98" y="749"/>
                    <a:pt x="95" y="743"/>
                    <a:pt x="92" y="744"/>
                  </a:cubicBezTo>
                  <a:close/>
                  <a:moveTo>
                    <a:pt x="826" y="901"/>
                  </a:moveTo>
                  <a:cubicBezTo>
                    <a:pt x="828" y="898"/>
                    <a:pt x="828" y="894"/>
                    <a:pt x="823" y="894"/>
                  </a:cubicBezTo>
                  <a:cubicBezTo>
                    <a:pt x="817" y="895"/>
                    <a:pt x="812" y="904"/>
                    <a:pt x="816" y="907"/>
                  </a:cubicBezTo>
                  <a:cubicBezTo>
                    <a:pt x="818" y="908"/>
                    <a:pt x="823" y="906"/>
                    <a:pt x="826" y="901"/>
                  </a:cubicBezTo>
                  <a:close/>
                  <a:moveTo>
                    <a:pt x="138" y="779"/>
                  </a:moveTo>
                  <a:cubicBezTo>
                    <a:pt x="141" y="781"/>
                    <a:pt x="143" y="778"/>
                    <a:pt x="142" y="774"/>
                  </a:cubicBezTo>
                  <a:cubicBezTo>
                    <a:pt x="142" y="773"/>
                    <a:pt x="142" y="773"/>
                    <a:pt x="142" y="773"/>
                  </a:cubicBezTo>
                  <a:cubicBezTo>
                    <a:pt x="141" y="769"/>
                    <a:pt x="137" y="764"/>
                    <a:pt x="134" y="764"/>
                  </a:cubicBezTo>
                  <a:cubicBezTo>
                    <a:pt x="130" y="765"/>
                    <a:pt x="133" y="776"/>
                    <a:pt x="138" y="779"/>
                  </a:cubicBezTo>
                  <a:close/>
                  <a:moveTo>
                    <a:pt x="196" y="855"/>
                  </a:moveTo>
                  <a:cubicBezTo>
                    <a:pt x="200" y="857"/>
                    <a:pt x="202" y="855"/>
                    <a:pt x="201" y="850"/>
                  </a:cubicBezTo>
                  <a:cubicBezTo>
                    <a:pt x="201" y="850"/>
                    <a:pt x="200" y="849"/>
                    <a:pt x="200" y="849"/>
                  </a:cubicBezTo>
                  <a:cubicBezTo>
                    <a:pt x="199" y="845"/>
                    <a:pt x="195" y="841"/>
                    <a:pt x="191" y="841"/>
                  </a:cubicBezTo>
                  <a:cubicBezTo>
                    <a:pt x="187" y="842"/>
                    <a:pt x="191" y="852"/>
                    <a:pt x="196" y="855"/>
                  </a:cubicBezTo>
                  <a:close/>
                  <a:moveTo>
                    <a:pt x="192" y="832"/>
                  </a:moveTo>
                  <a:cubicBezTo>
                    <a:pt x="192" y="832"/>
                    <a:pt x="192" y="831"/>
                    <a:pt x="192" y="831"/>
                  </a:cubicBezTo>
                  <a:cubicBezTo>
                    <a:pt x="190" y="827"/>
                    <a:pt x="187" y="822"/>
                    <a:pt x="183" y="822"/>
                  </a:cubicBezTo>
                  <a:cubicBezTo>
                    <a:pt x="178" y="824"/>
                    <a:pt x="182" y="833"/>
                    <a:pt x="187" y="836"/>
                  </a:cubicBezTo>
                  <a:cubicBezTo>
                    <a:pt x="191" y="838"/>
                    <a:pt x="193" y="836"/>
                    <a:pt x="192" y="832"/>
                  </a:cubicBezTo>
                  <a:close/>
                  <a:moveTo>
                    <a:pt x="158" y="813"/>
                  </a:moveTo>
                  <a:cubicBezTo>
                    <a:pt x="157" y="813"/>
                    <a:pt x="157" y="812"/>
                    <a:pt x="157" y="812"/>
                  </a:cubicBezTo>
                  <a:cubicBezTo>
                    <a:pt x="156" y="808"/>
                    <a:pt x="152" y="803"/>
                    <a:pt x="149" y="803"/>
                  </a:cubicBezTo>
                  <a:cubicBezTo>
                    <a:pt x="145" y="805"/>
                    <a:pt x="149" y="815"/>
                    <a:pt x="154" y="818"/>
                  </a:cubicBezTo>
                  <a:cubicBezTo>
                    <a:pt x="157" y="820"/>
                    <a:pt x="159" y="817"/>
                    <a:pt x="158" y="813"/>
                  </a:cubicBezTo>
                  <a:close/>
                  <a:moveTo>
                    <a:pt x="170" y="812"/>
                  </a:moveTo>
                  <a:cubicBezTo>
                    <a:pt x="170" y="812"/>
                    <a:pt x="170" y="812"/>
                    <a:pt x="170" y="812"/>
                  </a:cubicBezTo>
                  <a:cubicBezTo>
                    <a:pt x="169" y="808"/>
                    <a:pt x="165" y="803"/>
                    <a:pt x="162" y="803"/>
                  </a:cubicBezTo>
                  <a:cubicBezTo>
                    <a:pt x="157" y="805"/>
                    <a:pt x="161" y="815"/>
                    <a:pt x="166" y="818"/>
                  </a:cubicBezTo>
                  <a:cubicBezTo>
                    <a:pt x="170" y="820"/>
                    <a:pt x="172" y="817"/>
                    <a:pt x="170" y="812"/>
                  </a:cubicBezTo>
                  <a:close/>
                  <a:moveTo>
                    <a:pt x="205" y="872"/>
                  </a:moveTo>
                  <a:cubicBezTo>
                    <a:pt x="209" y="874"/>
                    <a:pt x="211" y="873"/>
                    <a:pt x="210" y="869"/>
                  </a:cubicBezTo>
                  <a:cubicBezTo>
                    <a:pt x="210" y="868"/>
                    <a:pt x="209" y="868"/>
                    <a:pt x="209" y="867"/>
                  </a:cubicBezTo>
                  <a:cubicBezTo>
                    <a:pt x="208" y="863"/>
                    <a:pt x="204" y="859"/>
                    <a:pt x="200" y="859"/>
                  </a:cubicBezTo>
                  <a:cubicBezTo>
                    <a:pt x="196" y="860"/>
                    <a:pt x="200" y="869"/>
                    <a:pt x="205" y="872"/>
                  </a:cubicBezTo>
                  <a:close/>
                  <a:moveTo>
                    <a:pt x="230" y="836"/>
                  </a:moveTo>
                  <a:cubicBezTo>
                    <a:pt x="234" y="839"/>
                    <a:pt x="237" y="837"/>
                    <a:pt x="236" y="832"/>
                  </a:cubicBezTo>
                  <a:cubicBezTo>
                    <a:pt x="236" y="832"/>
                    <a:pt x="236" y="831"/>
                    <a:pt x="236" y="831"/>
                  </a:cubicBezTo>
                  <a:cubicBezTo>
                    <a:pt x="235" y="827"/>
                    <a:pt x="231" y="822"/>
                    <a:pt x="227" y="822"/>
                  </a:cubicBezTo>
                  <a:cubicBezTo>
                    <a:pt x="222" y="824"/>
                    <a:pt x="224" y="832"/>
                    <a:pt x="230" y="836"/>
                  </a:cubicBezTo>
                  <a:close/>
                  <a:moveTo>
                    <a:pt x="215" y="890"/>
                  </a:moveTo>
                  <a:cubicBezTo>
                    <a:pt x="218" y="892"/>
                    <a:pt x="220" y="890"/>
                    <a:pt x="219" y="886"/>
                  </a:cubicBezTo>
                  <a:cubicBezTo>
                    <a:pt x="219" y="886"/>
                    <a:pt x="219" y="885"/>
                    <a:pt x="219" y="884"/>
                  </a:cubicBezTo>
                  <a:cubicBezTo>
                    <a:pt x="217" y="881"/>
                    <a:pt x="213" y="877"/>
                    <a:pt x="209" y="877"/>
                  </a:cubicBezTo>
                  <a:cubicBezTo>
                    <a:pt x="205" y="878"/>
                    <a:pt x="210" y="887"/>
                    <a:pt x="215" y="890"/>
                  </a:cubicBezTo>
                  <a:close/>
                  <a:moveTo>
                    <a:pt x="132" y="818"/>
                  </a:moveTo>
                  <a:cubicBezTo>
                    <a:pt x="134" y="819"/>
                    <a:pt x="135" y="817"/>
                    <a:pt x="134" y="812"/>
                  </a:cubicBezTo>
                  <a:cubicBezTo>
                    <a:pt x="134" y="812"/>
                    <a:pt x="134" y="812"/>
                    <a:pt x="133" y="812"/>
                  </a:cubicBezTo>
                  <a:cubicBezTo>
                    <a:pt x="132" y="808"/>
                    <a:pt x="129" y="803"/>
                    <a:pt x="126" y="803"/>
                  </a:cubicBezTo>
                  <a:cubicBezTo>
                    <a:pt x="122" y="805"/>
                    <a:pt x="127" y="816"/>
                    <a:pt x="132" y="818"/>
                  </a:cubicBezTo>
                  <a:close/>
                  <a:moveTo>
                    <a:pt x="115" y="779"/>
                  </a:moveTo>
                  <a:cubicBezTo>
                    <a:pt x="118" y="781"/>
                    <a:pt x="119" y="778"/>
                    <a:pt x="117" y="773"/>
                  </a:cubicBezTo>
                  <a:cubicBezTo>
                    <a:pt x="116" y="769"/>
                    <a:pt x="113" y="764"/>
                    <a:pt x="110" y="764"/>
                  </a:cubicBezTo>
                  <a:cubicBezTo>
                    <a:pt x="106" y="766"/>
                    <a:pt x="110" y="777"/>
                    <a:pt x="115" y="779"/>
                  </a:cubicBezTo>
                  <a:close/>
                  <a:moveTo>
                    <a:pt x="123" y="799"/>
                  </a:moveTo>
                  <a:cubicBezTo>
                    <a:pt x="126" y="800"/>
                    <a:pt x="127" y="797"/>
                    <a:pt x="125" y="792"/>
                  </a:cubicBezTo>
                  <a:cubicBezTo>
                    <a:pt x="124" y="789"/>
                    <a:pt x="120" y="784"/>
                    <a:pt x="117" y="784"/>
                  </a:cubicBezTo>
                  <a:cubicBezTo>
                    <a:pt x="113" y="785"/>
                    <a:pt x="118" y="797"/>
                    <a:pt x="123" y="799"/>
                  </a:cubicBezTo>
                  <a:close/>
                  <a:moveTo>
                    <a:pt x="108" y="759"/>
                  </a:moveTo>
                  <a:cubicBezTo>
                    <a:pt x="110" y="761"/>
                    <a:pt x="112" y="758"/>
                    <a:pt x="110" y="753"/>
                  </a:cubicBezTo>
                  <a:cubicBezTo>
                    <a:pt x="109" y="749"/>
                    <a:pt x="106" y="743"/>
                    <a:pt x="103" y="744"/>
                  </a:cubicBezTo>
                  <a:cubicBezTo>
                    <a:pt x="99" y="745"/>
                    <a:pt x="103" y="757"/>
                    <a:pt x="108" y="759"/>
                  </a:cubicBezTo>
                  <a:close/>
                  <a:moveTo>
                    <a:pt x="143" y="818"/>
                  </a:moveTo>
                  <a:cubicBezTo>
                    <a:pt x="146" y="820"/>
                    <a:pt x="147" y="816"/>
                    <a:pt x="145" y="812"/>
                  </a:cubicBezTo>
                  <a:cubicBezTo>
                    <a:pt x="144" y="808"/>
                    <a:pt x="140" y="803"/>
                    <a:pt x="137" y="803"/>
                  </a:cubicBezTo>
                  <a:cubicBezTo>
                    <a:pt x="133" y="805"/>
                    <a:pt x="138" y="816"/>
                    <a:pt x="143" y="818"/>
                  </a:cubicBezTo>
                  <a:close/>
                  <a:moveTo>
                    <a:pt x="137" y="792"/>
                  </a:moveTo>
                  <a:cubicBezTo>
                    <a:pt x="136" y="789"/>
                    <a:pt x="132" y="784"/>
                    <a:pt x="129" y="784"/>
                  </a:cubicBezTo>
                  <a:cubicBezTo>
                    <a:pt x="125" y="785"/>
                    <a:pt x="129" y="797"/>
                    <a:pt x="134" y="799"/>
                  </a:cubicBezTo>
                  <a:cubicBezTo>
                    <a:pt x="137" y="800"/>
                    <a:pt x="139" y="797"/>
                    <a:pt x="137" y="792"/>
                  </a:cubicBezTo>
                  <a:close/>
                  <a:moveTo>
                    <a:pt x="109" y="723"/>
                  </a:moveTo>
                  <a:cubicBezTo>
                    <a:pt x="104" y="725"/>
                    <a:pt x="108" y="737"/>
                    <a:pt x="113" y="739"/>
                  </a:cubicBezTo>
                  <a:cubicBezTo>
                    <a:pt x="116" y="741"/>
                    <a:pt x="117" y="737"/>
                    <a:pt x="116" y="732"/>
                  </a:cubicBezTo>
                  <a:cubicBezTo>
                    <a:pt x="115" y="728"/>
                    <a:pt x="112" y="723"/>
                    <a:pt x="109" y="723"/>
                  </a:cubicBezTo>
                  <a:close/>
                  <a:moveTo>
                    <a:pt x="726" y="901"/>
                  </a:moveTo>
                  <a:cubicBezTo>
                    <a:pt x="727" y="898"/>
                    <a:pt x="727" y="894"/>
                    <a:pt x="721" y="894"/>
                  </a:cubicBezTo>
                  <a:cubicBezTo>
                    <a:pt x="714" y="895"/>
                    <a:pt x="711" y="904"/>
                    <a:pt x="716" y="906"/>
                  </a:cubicBezTo>
                  <a:cubicBezTo>
                    <a:pt x="719" y="909"/>
                    <a:pt x="724" y="906"/>
                    <a:pt x="726" y="901"/>
                  </a:cubicBezTo>
                  <a:close/>
                  <a:moveTo>
                    <a:pt x="812" y="942"/>
                  </a:moveTo>
                  <a:cubicBezTo>
                    <a:pt x="807" y="943"/>
                    <a:pt x="801" y="952"/>
                    <a:pt x="804" y="954"/>
                  </a:cubicBezTo>
                  <a:cubicBezTo>
                    <a:pt x="806" y="955"/>
                    <a:pt x="811" y="953"/>
                    <a:pt x="813" y="949"/>
                  </a:cubicBezTo>
                  <a:cubicBezTo>
                    <a:pt x="816" y="946"/>
                    <a:pt x="816" y="942"/>
                    <a:pt x="812" y="942"/>
                  </a:cubicBezTo>
                  <a:close/>
                  <a:moveTo>
                    <a:pt x="803" y="957"/>
                  </a:moveTo>
                  <a:cubicBezTo>
                    <a:pt x="797" y="958"/>
                    <a:pt x="792" y="966"/>
                    <a:pt x="794" y="968"/>
                  </a:cubicBezTo>
                  <a:cubicBezTo>
                    <a:pt x="796" y="970"/>
                    <a:pt x="801" y="967"/>
                    <a:pt x="804" y="964"/>
                  </a:cubicBezTo>
                  <a:cubicBezTo>
                    <a:pt x="806" y="961"/>
                    <a:pt x="807" y="957"/>
                    <a:pt x="803" y="957"/>
                  </a:cubicBezTo>
                  <a:close/>
                  <a:moveTo>
                    <a:pt x="800" y="949"/>
                  </a:moveTo>
                  <a:cubicBezTo>
                    <a:pt x="802" y="946"/>
                    <a:pt x="803" y="942"/>
                    <a:pt x="799" y="942"/>
                  </a:cubicBezTo>
                  <a:cubicBezTo>
                    <a:pt x="793" y="943"/>
                    <a:pt x="788" y="952"/>
                    <a:pt x="790" y="954"/>
                  </a:cubicBezTo>
                  <a:cubicBezTo>
                    <a:pt x="792" y="955"/>
                    <a:pt x="797" y="953"/>
                    <a:pt x="800" y="949"/>
                  </a:cubicBezTo>
                  <a:close/>
                  <a:moveTo>
                    <a:pt x="822" y="927"/>
                  </a:moveTo>
                  <a:cubicBezTo>
                    <a:pt x="816" y="928"/>
                    <a:pt x="810" y="936"/>
                    <a:pt x="813" y="939"/>
                  </a:cubicBezTo>
                  <a:cubicBezTo>
                    <a:pt x="815" y="940"/>
                    <a:pt x="820" y="938"/>
                    <a:pt x="823" y="934"/>
                  </a:cubicBezTo>
                  <a:cubicBezTo>
                    <a:pt x="825" y="931"/>
                    <a:pt x="826" y="927"/>
                    <a:pt x="822" y="927"/>
                  </a:cubicBezTo>
                  <a:close/>
                  <a:moveTo>
                    <a:pt x="56" y="739"/>
                  </a:moveTo>
                  <a:cubicBezTo>
                    <a:pt x="57" y="740"/>
                    <a:pt x="57" y="737"/>
                    <a:pt x="56" y="732"/>
                  </a:cubicBezTo>
                  <a:cubicBezTo>
                    <a:pt x="55" y="728"/>
                    <a:pt x="52" y="723"/>
                    <a:pt x="50" y="723"/>
                  </a:cubicBezTo>
                  <a:cubicBezTo>
                    <a:pt x="47" y="725"/>
                    <a:pt x="53" y="739"/>
                    <a:pt x="56" y="739"/>
                  </a:cubicBezTo>
                  <a:close/>
                  <a:moveTo>
                    <a:pt x="790" y="957"/>
                  </a:moveTo>
                  <a:cubicBezTo>
                    <a:pt x="784" y="958"/>
                    <a:pt x="779" y="966"/>
                    <a:pt x="781" y="968"/>
                  </a:cubicBezTo>
                  <a:cubicBezTo>
                    <a:pt x="783" y="970"/>
                    <a:pt x="788" y="967"/>
                    <a:pt x="791" y="964"/>
                  </a:cubicBezTo>
                  <a:cubicBezTo>
                    <a:pt x="793" y="961"/>
                    <a:pt x="793" y="957"/>
                    <a:pt x="790" y="957"/>
                  </a:cubicBezTo>
                  <a:close/>
                  <a:moveTo>
                    <a:pt x="57" y="760"/>
                  </a:moveTo>
                  <a:cubicBezTo>
                    <a:pt x="58" y="760"/>
                    <a:pt x="58" y="757"/>
                    <a:pt x="56" y="753"/>
                  </a:cubicBezTo>
                  <a:cubicBezTo>
                    <a:pt x="55" y="749"/>
                    <a:pt x="52" y="743"/>
                    <a:pt x="51" y="744"/>
                  </a:cubicBezTo>
                  <a:cubicBezTo>
                    <a:pt x="50" y="745"/>
                    <a:pt x="51" y="750"/>
                    <a:pt x="52" y="752"/>
                  </a:cubicBezTo>
                  <a:cubicBezTo>
                    <a:pt x="54" y="758"/>
                    <a:pt x="56" y="760"/>
                    <a:pt x="57" y="760"/>
                  </a:cubicBezTo>
                  <a:close/>
                  <a:moveTo>
                    <a:pt x="63" y="760"/>
                  </a:moveTo>
                  <a:cubicBezTo>
                    <a:pt x="65" y="760"/>
                    <a:pt x="65" y="757"/>
                    <a:pt x="63" y="753"/>
                  </a:cubicBezTo>
                  <a:cubicBezTo>
                    <a:pt x="62" y="749"/>
                    <a:pt x="59" y="743"/>
                    <a:pt x="57" y="744"/>
                  </a:cubicBezTo>
                  <a:cubicBezTo>
                    <a:pt x="54" y="746"/>
                    <a:pt x="61" y="759"/>
                    <a:pt x="63" y="760"/>
                  </a:cubicBezTo>
                  <a:close/>
                  <a:moveTo>
                    <a:pt x="65" y="780"/>
                  </a:moveTo>
                  <a:cubicBezTo>
                    <a:pt x="66" y="780"/>
                    <a:pt x="66" y="777"/>
                    <a:pt x="64" y="773"/>
                  </a:cubicBezTo>
                  <a:cubicBezTo>
                    <a:pt x="63" y="769"/>
                    <a:pt x="60" y="764"/>
                    <a:pt x="58" y="764"/>
                  </a:cubicBezTo>
                  <a:cubicBezTo>
                    <a:pt x="57" y="765"/>
                    <a:pt x="59" y="770"/>
                    <a:pt x="60" y="772"/>
                  </a:cubicBezTo>
                  <a:cubicBezTo>
                    <a:pt x="62" y="778"/>
                    <a:pt x="64" y="780"/>
                    <a:pt x="65" y="780"/>
                  </a:cubicBezTo>
                  <a:close/>
                  <a:moveTo>
                    <a:pt x="745" y="927"/>
                  </a:moveTo>
                  <a:cubicBezTo>
                    <a:pt x="739" y="928"/>
                    <a:pt x="735" y="936"/>
                    <a:pt x="738" y="938"/>
                  </a:cubicBezTo>
                  <a:cubicBezTo>
                    <a:pt x="741" y="940"/>
                    <a:pt x="746" y="938"/>
                    <a:pt x="748" y="934"/>
                  </a:cubicBezTo>
                  <a:cubicBezTo>
                    <a:pt x="750" y="930"/>
                    <a:pt x="749" y="927"/>
                    <a:pt x="745" y="927"/>
                  </a:cubicBezTo>
                  <a:close/>
                  <a:moveTo>
                    <a:pt x="751" y="911"/>
                  </a:moveTo>
                  <a:cubicBezTo>
                    <a:pt x="745" y="912"/>
                    <a:pt x="741" y="920"/>
                    <a:pt x="745" y="923"/>
                  </a:cubicBezTo>
                  <a:cubicBezTo>
                    <a:pt x="747" y="925"/>
                    <a:pt x="753" y="922"/>
                    <a:pt x="755" y="918"/>
                  </a:cubicBezTo>
                  <a:cubicBezTo>
                    <a:pt x="756" y="915"/>
                    <a:pt x="756" y="910"/>
                    <a:pt x="751" y="911"/>
                  </a:cubicBezTo>
                  <a:close/>
                  <a:moveTo>
                    <a:pt x="739" y="942"/>
                  </a:moveTo>
                  <a:cubicBezTo>
                    <a:pt x="732" y="943"/>
                    <a:pt x="729" y="951"/>
                    <a:pt x="732" y="954"/>
                  </a:cubicBezTo>
                  <a:cubicBezTo>
                    <a:pt x="734" y="956"/>
                    <a:pt x="739" y="953"/>
                    <a:pt x="742" y="949"/>
                  </a:cubicBezTo>
                  <a:cubicBezTo>
                    <a:pt x="743" y="946"/>
                    <a:pt x="743" y="942"/>
                    <a:pt x="739" y="942"/>
                  </a:cubicBezTo>
                  <a:close/>
                  <a:moveTo>
                    <a:pt x="780" y="972"/>
                  </a:moveTo>
                  <a:cubicBezTo>
                    <a:pt x="775" y="973"/>
                    <a:pt x="769" y="980"/>
                    <a:pt x="772" y="982"/>
                  </a:cubicBezTo>
                  <a:cubicBezTo>
                    <a:pt x="773" y="984"/>
                    <a:pt x="778" y="982"/>
                    <a:pt x="781" y="978"/>
                  </a:cubicBezTo>
                  <a:cubicBezTo>
                    <a:pt x="783" y="975"/>
                    <a:pt x="784" y="972"/>
                    <a:pt x="780" y="972"/>
                  </a:cubicBezTo>
                  <a:close/>
                  <a:moveTo>
                    <a:pt x="757" y="894"/>
                  </a:moveTo>
                  <a:cubicBezTo>
                    <a:pt x="750" y="895"/>
                    <a:pt x="747" y="904"/>
                    <a:pt x="751" y="906"/>
                  </a:cubicBezTo>
                  <a:cubicBezTo>
                    <a:pt x="753" y="909"/>
                    <a:pt x="759" y="906"/>
                    <a:pt x="761" y="901"/>
                  </a:cubicBezTo>
                  <a:cubicBezTo>
                    <a:pt x="763" y="898"/>
                    <a:pt x="762" y="894"/>
                    <a:pt x="757" y="894"/>
                  </a:cubicBezTo>
                  <a:close/>
                  <a:moveTo>
                    <a:pt x="778" y="901"/>
                  </a:moveTo>
                  <a:cubicBezTo>
                    <a:pt x="780" y="898"/>
                    <a:pt x="779" y="894"/>
                    <a:pt x="774" y="894"/>
                  </a:cubicBezTo>
                  <a:cubicBezTo>
                    <a:pt x="768" y="895"/>
                    <a:pt x="764" y="904"/>
                    <a:pt x="767" y="906"/>
                  </a:cubicBezTo>
                  <a:cubicBezTo>
                    <a:pt x="770" y="909"/>
                    <a:pt x="776" y="906"/>
                    <a:pt x="778" y="901"/>
                  </a:cubicBezTo>
                  <a:close/>
                  <a:moveTo>
                    <a:pt x="763" y="877"/>
                  </a:moveTo>
                  <a:cubicBezTo>
                    <a:pt x="756" y="878"/>
                    <a:pt x="752" y="887"/>
                    <a:pt x="756" y="890"/>
                  </a:cubicBezTo>
                  <a:cubicBezTo>
                    <a:pt x="759" y="892"/>
                    <a:pt x="765" y="889"/>
                    <a:pt x="767" y="884"/>
                  </a:cubicBezTo>
                  <a:cubicBezTo>
                    <a:pt x="769" y="881"/>
                    <a:pt x="768" y="877"/>
                    <a:pt x="763" y="877"/>
                  </a:cubicBezTo>
                  <a:close/>
                  <a:moveTo>
                    <a:pt x="1075" y="780"/>
                  </a:moveTo>
                  <a:cubicBezTo>
                    <a:pt x="1075" y="780"/>
                    <a:pt x="1075" y="778"/>
                    <a:pt x="1076" y="778"/>
                  </a:cubicBezTo>
                  <a:cubicBezTo>
                    <a:pt x="1081" y="766"/>
                    <a:pt x="1081" y="766"/>
                    <a:pt x="1081" y="766"/>
                  </a:cubicBezTo>
                  <a:cubicBezTo>
                    <a:pt x="1081" y="766"/>
                    <a:pt x="1081" y="766"/>
                    <a:pt x="1081" y="766"/>
                  </a:cubicBezTo>
                  <a:cubicBezTo>
                    <a:pt x="1081" y="765"/>
                    <a:pt x="1081" y="765"/>
                    <a:pt x="1081" y="764"/>
                  </a:cubicBezTo>
                  <a:cubicBezTo>
                    <a:pt x="1081" y="764"/>
                    <a:pt x="1081" y="764"/>
                    <a:pt x="1081" y="764"/>
                  </a:cubicBezTo>
                  <a:cubicBezTo>
                    <a:pt x="1081" y="765"/>
                    <a:pt x="1075" y="778"/>
                    <a:pt x="1075" y="780"/>
                  </a:cubicBezTo>
                  <a:close/>
                  <a:moveTo>
                    <a:pt x="53" y="764"/>
                  </a:moveTo>
                  <a:cubicBezTo>
                    <a:pt x="51" y="766"/>
                    <a:pt x="59" y="780"/>
                    <a:pt x="60" y="780"/>
                  </a:cubicBezTo>
                  <a:cubicBezTo>
                    <a:pt x="61" y="780"/>
                    <a:pt x="60" y="777"/>
                    <a:pt x="59" y="773"/>
                  </a:cubicBezTo>
                  <a:cubicBezTo>
                    <a:pt x="57" y="769"/>
                    <a:pt x="54" y="764"/>
                    <a:pt x="53" y="764"/>
                  </a:cubicBezTo>
                  <a:close/>
                  <a:moveTo>
                    <a:pt x="62" y="784"/>
                  </a:moveTo>
                  <a:cubicBezTo>
                    <a:pt x="60" y="786"/>
                    <a:pt x="68" y="799"/>
                    <a:pt x="69" y="799"/>
                  </a:cubicBezTo>
                  <a:cubicBezTo>
                    <a:pt x="70" y="799"/>
                    <a:pt x="69" y="796"/>
                    <a:pt x="67" y="792"/>
                  </a:cubicBezTo>
                  <a:cubicBezTo>
                    <a:pt x="66" y="789"/>
                    <a:pt x="63" y="784"/>
                    <a:pt x="62" y="784"/>
                  </a:cubicBezTo>
                  <a:close/>
                  <a:moveTo>
                    <a:pt x="830" y="911"/>
                  </a:moveTo>
                  <a:cubicBezTo>
                    <a:pt x="824" y="912"/>
                    <a:pt x="819" y="921"/>
                    <a:pt x="822" y="923"/>
                  </a:cubicBezTo>
                  <a:cubicBezTo>
                    <a:pt x="824" y="925"/>
                    <a:pt x="829" y="922"/>
                    <a:pt x="832" y="918"/>
                  </a:cubicBezTo>
                  <a:cubicBezTo>
                    <a:pt x="834" y="915"/>
                    <a:pt x="834" y="910"/>
                    <a:pt x="830" y="911"/>
                  </a:cubicBezTo>
                  <a:close/>
                  <a:moveTo>
                    <a:pt x="71" y="803"/>
                  </a:moveTo>
                  <a:cubicBezTo>
                    <a:pt x="69" y="805"/>
                    <a:pt x="77" y="819"/>
                    <a:pt x="79" y="819"/>
                  </a:cubicBezTo>
                  <a:cubicBezTo>
                    <a:pt x="79" y="818"/>
                    <a:pt x="79" y="816"/>
                    <a:pt x="77" y="812"/>
                  </a:cubicBezTo>
                  <a:cubicBezTo>
                    <a:pt x="75" y="808"/>
                    <a:pt x="72" y="803"/>
                    <a:pt x="71" y="803"/>
                  </a:cubicBezTo>
                  <a:close/>
                  <a:moveTo>
                    <a:pt x="1065" y="799"/>
                  </a:moveTo>
                  <a:cubicBezTo>
                    <a:pt x="1065" y="799"/>
                    <a:pt x="1066" y="799"/>
                    <a:pt x="1066" y="797"/>
                  </a:cubicBezTo>
                  <a:cubicBezTo>
                    <a:pt x="1068" y="794"/>
                    <a:pt x="1070" y="790"/>
                    <a:pt x="1072" y="786"/>
                  </a:cubicBezTo>
                  <a:cubicBezTo>
                    <a:pt x="1072" y="786"/>
                    <a:pt x="1072" y="786"/>
                    <a:pt x="1072" y="786"/>
                  </a:cubicBezTo>
                  <a:cubicBezTo>
                    <a:pt x="1072" y="785"/>
                    <a:pt x="1073" y="785"/>
                    <a:pt x="1073" y="784"/>
                  </a:cubicBezTo>
                  <a:cubicBezTo>
                    <a:pt x="1073" y="784"/>
                    <a:pt x="1073" y="784"/>
                    <a:pt x="1073" y="784"/>
                  </a:cubicBezTo>
                  <a:cubicBezTo>
                    <a:pt x="1072" y="785"/>
                    <a:pt x="1066" y="798"/>
                    <a:pt x="1065" y="799"/>
                  </a:cubicBezTo>
                  <a:close/>
                  <a:moveTo>
                    <a:pt x="1081" y="764"/>
                  </a:moveTo>
                  <a:cubicBezTo>
                    <a:pt x="1081" y="764"/>
                    <a:pt x="1081" y="764"/>
                    <a:pt x="1081" y="764"/>
                  </a:cubicBezTo>
                  <a:cubicBezTo>
                    <a:pt x="1079" y="765"/>
                    <a:pt x="1074" y="778"/>
                    <a:pt x="1074" y="780"/>
                  </a:cubicBezTo>
                  <a:cubicBezTo>
                    <a:pt x="1074" y="780"/>
                    <a:pt x="1074" y="780"/>
                    <a:pt x="1074" y="780"/>
                  </a:cubicBezTo>
                  <a:cubicBezTo>
                    <a:pt x="1075" y="779"/>
                    <a:pt x="1077" y="773"/>
                    <a:pt x="1077" y="773"/>
                  </a:cubicBezTo>
                  <a:cubicBezTo>
                    <a:pt x="1079" y="770"/>
                    <a:pt x="1081" y="765"/>
                    <a:pt x="1081" y="764"/>
                  </a:cubicBezTo>
                  <a:close/>
                  <a:moveTo>
                    <a:pt x="728" y="927"/>
                  </a:moveTo>
                  <a:cubicBezTo>
                    <a:pt x="722" y="928"/>
                    <a:pt x="719" y="936"/>
                    <a:pt x="722" y="938"/>
                  </a:cubicBezTo>
                  <a:cubicBezTo>
                    <a:pt x="725" y="940"/>
                    <a:pt x="730" y="938"/>
                    <a:pt x="732" y="934"/>
                  </a:cubicBezTo>
                  <a:cubicBezTo>
                    <a:pt x="734" y="931"/>
                    <a:pt x="733" y="927"/>
                    <a:pt x="728" y="927"/>
                  </a:cubicBezTo>
                  <a:close/>
                  <a:moveTo>
                    <a:pt x="76" y="803"/>
                  </a:moveTo>
                  <a:cubicBezTo>
                    <a:pt x="75" y="804"/>
                    <a:pt x="77" y="809"/>
                    <a:pt x="78" y="811"/>
                  </a:cubicBezTo>
                  <a:cubicBezTo>
                    <a:pt x="81" y="816"/>
                    <a:pt x="83" y="819"/>
                    <a:pt x="84" y="819"/>
                  </a:cubicBezTo>
                  <a:cubicBezTo>
                    <a:pt x="85" y="818"/>
                    <a:pt x="84" y="816"/>
                    <a:pt x="82" y="812"/>
                  </a:cubicBezTo>
                  <a:cubicBezTo>
                    <a:pt x="81" y="808"/>
                    <a:pt x="77" y="803"/>
                    <a:pt x="76" y="803"/>
                  </a:cubicBezTo>
                  <a:close/>
                  <a:moveTo>
                    <a:pt x="853" y="894"/>
                  </a:moveTo>
                  <a:cubicBezTo>
                    <a:pt x="847" y="895"/>
                    <a:pt x="842" y="904"/>
                    <a:pt x="845" y="907"/>
                  </a:cubicBezTo>
                  <a:cubicBezTo>
                    <a:pt x="848" y="908"/>
                    <a:pt x="852" y="906"/>
                    <a:pt x="855" y="901"/>
                  </a:cubicBezTo>
                  <a:cubicBezTo>
                    <a:pt x="857" y="898"/>
                    <a:pt x="858" y="894"/>
                    <a:pt x="853" y="894"/>
                  </a:cubicBezTo>
                  <a:close/>
                  <a:moveTo>
                    <a:pt x="839" y="894"/>
                  </a:moveTo>
                  <a:cubicBezTo>
                    <a:pt x="832" y="895"/>
                    <a:pt x="828" y="904"/>
                    <a:pt x="831" y="907"/>
                  </a:cubicBezTo>
                  <a:cubicBezTo>
                    <a:pt x="833" y="908"/>
                    <a:pt x="838" y="906"/>
                    <a:pt x="841" y="901"/>
                  </a:cubicBezTo>
                  <a:cubicBezTo>
                    <a:pt x="843" y="898"/>
                    <a:pt x="843" y="894"/>
                    <a:pt x="839" y="894"/>
                  </a:cubicBezTo>
                  <a:close/>
                  <a:moveTo>
                    <a:pt x="862" y="877"/>
                  </a:moveTo>
                  <a:cubicBezTo>
                    <a:pt x="856" y="878"/>
                    <a:pt x="851" y="887"/>
                    <a:pt x="854" y="890"/>
                  </a:cubicBezTo>
                  <a:cubicBezTo>
                    <a:pt x="856" y="892"/>
                    <a:pt x="861" y="889"/>
                    <a:pt x="864" y="884"/>
                  </a:cubicBezTo>
                  <a:cubicBezTo>
                    <a:pt x="866" y="881"/>
                    <a:pt x="866" y="877"/>
                    <a:pt x="862" y="877"/>
                  </a:cubicBezTo>
                  <a:close/>
                  <a:moveTo>
                    <a:pt x="49" y="739"/>
                  </a:moveTo>
                  <a:cubicBezTo>
                    <a:pt x="51" y="739"/>
                    <a:pt x="50" y="736"/>
                    <a:pt x="49" y="732"/>
                  </a:cubicBezTo>
                  <a:cubicBezTo>
                    <a:pt x="48" y="728"/>
                    <a:pt x="45" y="723"/>
                    <a:pt x="44" y="723"/>
                  </a:cubicBezTo>
                  <a:cubicBezTo>
                    <a:pt x="43" y="724"/>
                    <a:pt x="44" y="730"/>
                    <a:pt x="45" y="731"/>
                  </a:cubicBezTo>
                  <a:cubicBezTo>
                    <a:pt x="47" y="737"/>
                    <a:pt x="49" y="739"/>
                    <a:pt x="49" y="739"/>
                  </a:cubicBezTo>
                  <a:close/>
                  <a:moveTo>
                    <a:pt x="1088" y="744"/>
                  </a:moveTo>
                  <a:cubicBezTo>
                    <a:pt x="1088" y="744"/>
                    <a:pt x="1088" y="744"/>
                    <a:pt x="1088" y="744"/>
                  </a:cubicBezTo>
                  <a:cubicBezTo>
                    <a:pt x="1087" y="745"/>
                    <a:pt x="1082" y="758"/>
                    <a:pt x="1082" y="760"/>
                  </a:cubicBezTo>
                  <a:cubicBezTo>
                    <a:pt x="1082" y="760"/>
                    <a:pt x="1082" y="760"/>
                    <a:pt x="1082" y="760"/>
                  </a:cubicBezTo>
                  <a:cubicBezTo>
                    <a:pt x="1083" y="759"/>
                    <a:pt x="1085" y="753"/>
                    <a:pt x="1086" y="753"/>
                  </a:cubicBezTo>
                  <a:cubicBezTo>
                    <a:pt x="1087" y="750"/>
                    <a:pt x="1089" y="745"/>
                    <a:pt x="1088" y="744"/>
                  </a:cubicBezTo>
                  <a:close/>
                  <a:moveTo>
                    <a:pt x="870" y="859"/>
                  </a:moveTo>
                  <a:cubicBezTo>
                    <a:pt x="863" y="860"/>
                    <a:pt x="859" y="870"/>
                    <a:pt x="862" y="873"/>
                  </a:cubicBezTo>
                  <a:cubicBezTo>
                    <a:pt x="865" y="874"/>
                    <a:pt x="870" y="872"/>
                    <a:pt x="872" y="867"/>
                  </a:cubicBezTo>
                  <a:cubicBezTo>
                    <a:pt x="874" y="863"/>
                    <a:pt x="874" y="859"/>
                    <a:pt x="870" y="859"/>
                  </a:cubicBezTo>
                  <a:close/>
                  <a:moveTo>
                    <a:pt x="1083" y="760"/>
                  </a:moveTo>
                  <a:cubicBezTo>
                    <a:pt x="1083" y="760"/>
                    <a:pt x="1083" y="760"/>
                    <a:pt x="1084" y="758"/>
                  </a:cubicBezTo>
                  <a:cubicBezTo>
                    <a:pt x="1086" y="754"/>
                    <a:pt x="1087" y="750"/>
                    <a:pt x="1088" y="746"/>
                  </a:cubicBezTo>
                  <a:cubicBezTo>
                    <a:pt x="1089" y="746"/>
                    <a:pt x="1089" y="746"/>
                    <a:pt x="1089" y="746"/>
                  </a:cubicBezTo>
                  <a:cubicBezTo>
                    <a:pt x="1089" y="745"/>
                    <a:pt x="1089" y="744"/>
                    <a:pt x="1089" y="744"/>
                  </a:cubicBezTo>
                  <a:cubicBezTo>
                    <a:pt x="1089" y="744"/>
                    <a:pt x="1089" y="744"/>
                    <a:pt x="1089" y="744"/>
                  </a:cubicBezTo>
                  <a:cubicBezTo>
                    <a:pt x="1089" y="745"/>
                    <a:pt x="1084" y="758"/>
                    <a:pt x="1083" y="760"/>
                  </a:cubicBezTo>
                  <a:close/>
                  <a:moveTo>
                    <a:pt x="45" y="744"/>
                  </a:moveTo>
                  <a:cubicBezTo>
                    <a:pt x="43" y="746"/>
                    <a:pt x="50" y="760"/>
                    <a:pt x="52" y="760"/>
                  </a:cubicBezTo>
                  <a:cubicBezTo>
                    <a:pt x="52" y="760"/>
                    <a:pt x="52" y="757"/>
                    <a:pt x="51" y="753"/>
                  </a:cubicBezTo>
                  <a:cubicBezTo>
                    <a:pt x="49" y="749"/>
                    <a:pt x="47" y="743"/>
                    <a:pt x="45" y="744"/>
                  </a:cubicBezTo>
                  <a:close/>
                  <a:moveTo>
                    <a:pt x="723" y="942"/>
                  </a:moveTo>
                  <a:cubicBezTo>
                    <a:pt x="716" y="943"/>
                    <a:pt x="713" y="951"/>
                    <a:pt x="716" y="954"/>
                  </a:cubicBezTo>
                  <a:cubicBezTo>
                    <a:pt x="719" y="956"/>
                    <a:pt x="724" y="953"/>
                    <a:pt x="726" y="949"/>
                  </a:cubicBezTo>
                  <a:cubicBezTo>
                    <a:pt x="728" y="946"/>
                    <a:pt x="727" y="942"/>
                    <a:pt x="723" y="942"/>
                  </a:cubicBezTo>
                  <a:close/>
                  <a:moveTo>
                    <a:pt x="71" y="780"/>
                  </a:moveTo>
                  <a:cubicBezTo>
                    <a:pt x="73" y="780"/>
                    <a:pt x="72" y="777"/>
                    <a:pt x="71" y="773"/>
                  </a:cubicBezTo>
                  <a:cubicBezTo>
                    <a:pt x="69" y="769"/>
                    <a:pt x="67" y="764"/>
                    <a:pt x="65" y="764"/>
                  </a:cubicBezTo>
                  <a:cubicBezTo>
                    <a:pt x="62" y="766"/>
                    <a:pt x="69" y="779"/>
                    <a:pt x="71" y="780"/>
                  </a:cubicBezTo>
                  <a:close/>
                  <a:moveTo>
                    <a:pt x="74" y="799"/>
                  </a:moveTo>
                  <a:cubicBezTo>
                    <a:pt x="75" y="799"/>
                    <a:pt x="75" y="796"/>
                    <a:pt x="73" y="792"/>
                  </a:cubicBezTo>
                  <a:cubicBezTo>
                    <a:pt x="71" y="789"/>
                    <a:pt x="68" y="784"/>
                    <a:pt x="67" y="784"/>
                  </a:cubicBezTo>
                  <a:cubicBezTo>
                    <a:pt x="66" y="785"/>
                    <a:pt x="68" y="790"/>
                    <a:pt x="69" y="792"/>
                  </a:cubicBezTo>
                  <a:cubicBezTo>
                    <a:pt x="71" y="797"/>
                    <a:pt x="73" y="799"/>
                    <a:pt x="74" y="799"/>
                  </a:cubicBezTo>
                  <a:close/>
                  <a:moveTo>
                    <a:pt x="637" y="978"/>
                  </a:moveTo>
                  <a:cubicBezTo>
                    <a:pt x="638" y="975"/>
                    <a:pt x="636" y="972"/>
                    <a:pt x="632" y="972"/>
                  </a:cubicBezTo>
                  <a:cubicBezTo>
                    <a:pt x="626" y="973"/>
                    <a:pt x="624" y="979"/>
                    <a:pt x="627" y="982"/>
                  </a:cubicBezTo>
                  <a:cubicBezTo>
                    <a:pt x="630" y="984"/>
                    <a:pt x="635" y="982"/>
                    <a:pt x="637" y="978"/>
                  </a:cubicBezTo>
                  <a:close/>
                  <a:moveTo>
                    <a:pt x="628" y="934"/>
                  </a:moveTo>
                  <a:cubicBezTo>
                    <a:pt x="629" y="930"/>
                    <a:pt x="627" y="927"/>
                    <a:pt x="622" y="927"/>
                  </a:cubicBezTo>
                  <a:cubicBezTo>
                    <a:pt x="615" y="928"/>
                    <a:pt x="613" y="935"/>
                    <a:pt x="618" y="938"/>
                  </a:cubicBezTo>
                  <a:cubicBezTo>
                    <a:pt x="621" y="941"/>
                    <a:pt x="627" y="938"/>
                    <a:pt x="628" y="934"/>
                  </a:cubicBezTo>
                  <a:close/>
                  <a:moveTo>
                    <a:pt x="96" y="818"/>
                  </a:moveTo>
                  <a:cubicBezTo>
                    <a:pt x="98" y="819"/>
                    <a:pt x="98" y="816"/>
                    <a:pt x="96" y="812"/>
                  </a:cubicBezTo>
                  <a:cubicBezTo>
                    <a:pt x="94" y="808"/>
                    <a:pt x="91" y="803"/>
                    <a:pt x="89" y="803"/>
                  </a:cubicBezTo>
                  <a:cubicBezTo>
                    <a:pt x="86" y="805"/>
                    <a:pt x="94" y="818"/>
                    <a:pt x="96" y="818"/>
                  </a:cubicBezTo>
                  <a:close/>
                  <a:moveTo>
                    <a:pt x="89" y="818"/>
                  </a:moveTo>
                  <a:cubicBezTo>
                    <a:pt x="91" y="819"/>
                    <a:pt x="91" y="816"/>
                    <a:pt x="89" y="812"/>
                  </a:cubicBezTo>
                  <a:cubicBezTo>
                    <a:pt x="87" y="808"/>
                    <a:pt x="84" y="803"/>
                    <a:pt x="82" y="803"/>
                  </a:cubicBezTo>
                  <a:cubicBezTo>
                    <a:pt x="79" y="805"/>
                    <a:pt x="87" y="818"/>
                    <a:pt x="89" y="818"/>
                  </a:cubicBezTo>
                  <a:close/>
                  <a:moveTo>
                    <a:pt x="87" y="799"/>
                  </a:moveTo>
                  <a:cubicBezTo>
                    <a:pt x="89" y="800"/>
                    <a:pt x="89" y="797"/>
                    <a:pt x="87" y="792"/>
                  </a:cubicBezTo>
                  <a:cubicBezTo>
                    <a:pt x="85" y="789"/>
                    <a:pt x="82" y="784"/>
                    <a:pt x="80" y="784"/>
                  </a:cubicBezTo>
                  <a:cubicBezTo>
                    <a:pt x="77" y="786"/>
                    <a:pt x="84" y="799"/>
                    <a:pt x="87" y="799"/>
                  </a:cubicBezTo>
                  <a:close/>
                  <a:moveTo>
                    <a:pt x="80" y="799"/>
                  </a:moveTo>
                  <a:cubicBezTo>
                    <a:pt x="81" y="800"/>
                    <a:pt x="81" y="797"/>
                    <a:pt x="79" y="792"/>
                  </a:cubicBezTo>
                  <a:cubicBezTo>
                    <a:pt x="78" y="789"/>
                    <a:pt x="75" y="784"/>
                    <a:pt x="73" y="784"/>
                  </a:cubicBezTo>
                  <a:cubicBezTo>
                    <a:pt x="70" y="786"/>
                    <a:pt x="78" y="799"/>
                    <a:pt x="80" y="799"/>
                  </a:cubicBezTo>
                  <a:close/>
                  <a:moveTo>
                    <a:pt x="636" y="1011"/>
                  </a:moveTo>
                  <a:cubicBezTo>
                    <a:pt x="631" y="1012"/>
                    <a:pt x="629" y="1018"/>
                    <a:pt x="632" y="1020"/>
                  </a:cubicBezTo>
                  <a:cubicBezTo>
                    <a:pt x="634" y="1022"/>
                    <a:pt x="638" y="1020"/>
                    <a:pt x="640" y="1017"/>
                  </a:cubicBezTo>
                  <a:cubicBezTo>
                    <a:pt x="641" y="1014"/>
                    <a:pt x="640" y="1011"/>
                    <a:pt x="636" y="1011"/>
                  </a:cubicBezTo>
                  <a:close/>
                  <a:moveTo>
                    <a:pt x="640" y="999"/>
                  </a:moveTo>
                  <a:cubicBezTo>
                    <a:pt x="635" y="1000"/>
                    <a:pt x="632" y="1006"/>
                    <a:pt x="636" y="1008"/>
                  </a:cubicBezTo>
                  <a:cubicBezTo>
                    <a:pt x="638" y="1010"/>
                    <a:pt x="643" y="1008"/>
                    <a:pt x="644" y="1004"/>
                  </a:cubicBezTo>
                  <a:cubicBezTo>
                    <a:pt x="645" y="1002"/>
                    <a:pt x="644" y="999"/>
                    <a:pt x="640" y="999"/>
                  </a:cubicBezTo>
                  <a:close/>
                  <a:moveTo>
                    <a:pt x="669" y="999"/>
                  </a:moveTo>
                  <a:cubicBezTo>
                    <a:pt x="664" y="1000"/>
                    <a:pt x="661" y="1006"/>
                    <a:pt x="663" y="1008"/>
                  </a:cubicBezTo>
                  <a:cubicBezTo>
                    <a:pt x="666" y="1010"/>
                    <a:pt x="670" y="1008"/>
                    <a:pt x="672" y="1004"/>
                  </a:cubicBezTo>
                  <a:cubicBezTo>
                    <a:pt x="673" y="1002"/>
                    <a:pt x="673" y="999"/>
                    <a:pt x="669" y="999"/>
                  </a:cubicBezTo>
                  <a:close/>
                  <a:moveTo>
                    <a:pt x="710" y="972"/>
                  </a:moveTo>
                  <a:cubicBezTo>
                    <a:pt x="704" y="973"/>
                    <a:pt x="701" y="980"/>
                    <a:pt x="704" y="982"/>
                  </a:cubicBezTo>
                  <a:cubicBezTo>
                    <a:pt x="706" y="984"/>
                    <a:pt x="711" y="982"/>
                    <a:pt x="713" y="978"/>
                  </a:cubicBezTo>
                  <a:cubicBezTo>
                    <a:pt x="715" y="975"/>
                    <a:pt x="714" y="972"/>
                    <a:pt x="710" y="972"/>
                  </a:cubicBezTo>
                  <a:close/>
                  <a:moveTo>
                    <a:pt x="675" y="986"/>
                  </a:moveTo>
                  <a:cubicBezTo>
                    <a:pt x="669" y="986"/>
                    <a:pt x="666" y="993"/>
                    <a:pt x="669" y="995"/>
                  </a:cubicBezTo>
                  <a:cubicBezTo>
                    <a:pt x="671" y="997"/>
                    <a:pt x="676" y="995"/>
                    <a:pt x="678" y="991"/>
                  </a:cubicBezTo>
                  <a:cubicBezTo>
                    <a:pt x="679" y="988"/>
                    <a:pt x="679" y="985"/>
                    <a:pt x="675" y="986"/>
                  </a:cubicBezTo>
                  <a:close/>
                  <a:moveTo>
                    <a:pt x="704" y="986"/>
                  </a:moveTo>
                  <a:cubicBezTo>
                    <a:pt x="698" y="986"/>
                    <a:pt x="694" y="993"/>
                    <a:pt x="697" y="995"/>
                  </a:cubicBezTo>
                  <a:cubicBezTo>
                    <a:pt x="699" y="997"/>
                    <a:pt x="704" y="995"/>
                    <a:pt x="706" y="991"/>
                  </a:cubicBezTo>
                  <a:cubicBezTo>
                    <a:pt x="708" y="989"/>
                    <a:pt x="708" y="985"/>
                    <a:pt x="704" y="986"/>
                  </a:cubicBezTo>
                  <a:close/>
                  <a:moveTo>
                    <a:pt x="689" y="986"/>
                  </a:moveTo>
                  <a:cubicBezTo>
                    <a:pt x="684" y="986"/>
                    <a:pt x="680" y="993"/>
                    <a:pt x="683" y="995"/>
                  </a:cubicBezTo>
                  <a:cubicBezTo>
                    <a:pt x="685" y="997"/>
                    <a:pt x="690" y="995"/>
                    <a:pt x="692" y="991"/>
                  </a:cubicBezTo>
                  <a:cubicBezTo>
                    <a:pt x="694" y="989"/>
                    <a:pt x="693" y="985"/>
                    <a:pt x="689" y="986"/>
                  </a:cubicBezTo>
                  <a:close/>
                  <a:moveTo>
                    <a:pt x="683" y="999"/>
                  </a:moveTo>
                  <a:cubicBezTo>
                    <a:pt x="678" y="1000"/>
                    <a:pt x="674" y="1006"/>
                    <a:pt x="677" y="1008"/>
                  </a:cubicBezTo>
                  <a:cubicBezTo>
                    <a:pt x="679" y="1010"/>
                    <a:pt x="684" y="1008"/>
                    <a:pt x="686" y="1004"/>
                  </a:cubicBezTo>
                  <a:cubicBezTo>
                    <a:pt x="687" y="1002"/>
                    <a:pt x="687" y="999"/>
                    <a:pt x="683" y="999"/>
                  </a:cubicBezTo>
                  <a:close/>
                  <a:moveTo>
                    <a:pt x="717" y="957"/>
                  </a:moveTo>
                  <a:cubicBezTo>
                    <a:pt x="711" y="958"/>
                    <a:pt x="707" y="966"/>
                    <a:pt x="710" y="968"/>
                  </a:cubicBezTo>
                  <a:cubicBezTo>
                    <a:pt x="712" y="970"/>
                    <a:pt x="717" y="968"/>
                    <a:pt x="720" y="964"/>
                  </a:cubicBezTo>
                  <a:cubicBezTo>
                    <a:pt x="721" y="961"/>
                    <a:pt x="721" y="957"/>
                    <a:pt x="717" y="957"/>
                  </a:cubicBezTo>
                  <a:close/>
                  <a:moveTo>
                    <a:pt x="650" y="1011"/>
                  </a:moveTo>
                  <a:cubicBezTo>
                    <a:pt x="645" y="1012"/>
                    <a:pt x="642" y="1018"/>
                    <a:pt x="645" y="1020"/>
                  </a:cubicBezTo>
                  <a:cubicBezTo>
                    <a:pt x="647" y="1022"/>
                    <a:pt x="651" y="1020"/>
                    <a:pt x="653" y="1017"/>
                  </a:cubicBezTo>
                  <a:cubicBezTo>
                    <a:pt x="655" y="1014"/>
                    <a:pt x="654" y="1011"/>
                    <a:pt x="650" y="1011"/>
                  </a:cubicBezTo>
                  <a:close/>
                  <a:moveTo>
                    <a:pt x="655" y="999"/>
                  </a:moveTo>
                  <a:cubicBezTo>
                    <a:pt x="649" y="1000"/>
                    <a:pt x="646" y="1006"/>
                    <a:pt x="650" y="1008"/>
                  </a:cubicBezTo>
                  <a:cubicBezTo>
                    <a:pt x="652" y="1010"/>
                    <a:pt x="656" y="1008"/>
                    <a:pt x="658" y="1004"/>
                  </a:cubicBezTo>
                  <a:cubicBezTo>
                    <a:pt x="660" y="1002"/>
                    <a:pt x="659" y="999"/>
                    <a:pt x="655" y="999"/>
                  </a:cubicBezTo>
                  <a:close/>
                  <a:moveTo>
                    <a:pt x="660" y="986"/>
                  </a:moveTo>
                  <a:cubicBezTo>
                    <a:pt x="654" y="986"/>
                    <a:pt x="651" y="993"/>
                    <a:pt x="654" y="995"/>
                  </a:cubicBezTo>
                  <a:cubicBezTo>
                    <a:pt x="657" y="997"/>
                    <a:pt x="661" y="995"/>
                    <a:pt x="663" y="991"/>
                  </a:cubicBezTo>
                  <a:cubicBezTo>
                    <a:pt x="665" y="988"/>
                    <a:pt x="664" y="985"/>
                    <a:pt x="660" y="986"/>
                  </a:cubicBezTo>
                  <a:close/>
                  <a:moveTo>
                    <a:pt x="830" y="570"/>
                  </a:moveTo>
                  <a:cubicBezTo>
                    <a:pt x="823" y="571"/>
                    <a:pt x="822" y="583"/>
                    <a:pt x="827" y="587"/>
                  </a:cubicBezTo>
                  <a:cubicBezTo>
                    <a:pt x="832" y="590"/>
                    <a:pt x="838" y="586"/>
                    <a:pt x="838" y="580"/>
                  </a:cubicBezTo>
                  <a:cubicBezTo>
                    <a:pt x="839" y="575"/>
                    <a:pt x="836" y="569"/>
                    <a:pt x="830" y="570"/>
                  </a:cubicBezTo>
                  <a:close/>
                  <a:moveTo>
                    <a:pt x="974" y="326"/>
                  </a:moveTo>
                  <a:cubicBezTo>
                    <a:pt x="978" y="328"/>
                    <a:pt x="980" y="325"/>
                    <a:pt x="979" y="320"/>
                  </a:cubicBezTo>
                  <a:cubicBezTo>
                    <a:pt x="979" y="320"/>
                    <a:pt x="979" y="319"/>
                    <a:pt x="979" y="319"/>
                  </a:cubicBezTo>
                  <a:cubicBezTo>
                    <a:pt x="977" y="315"/>
                    <a:pt x="974" y="310"/>
                    <a:pt x="970" y="311"/>
                  </a:cubicBezTo>
                  <a:cubicBezTo>
                    <a:pt x="966" y="312"/>
                    <a:pt x="970" y="323"/>
                    <a:pt x="974" y="326"/>
                  </a:cubicBezTo>
                  <a:close/>
                  <a:moveTo>
                    <a:pt x="831" y="547"/>
                  </a:moveTo>
                  <a:cubicBezTo>
                    <a:pt x="823" y="548"/>
                    <a:pt x="822" y="560"/>
                    <a:pt x="828" y="564"/>
                  </a:cubicBezTo>
                  <a:cubicBezTo>
                    <a:pt x="832" y="567"/>
                    <a:pt x="838" y="563"/>
                    <a:pt x="839" y="557"/>
                  </a:cubicBezTo>
                  <a:cubicBezTo>
                    <a:pt x="839" y="552"/>
                    <a:pt x="837" y="546"/>
                    <a:pt x="831" y="547"/>
                  </a:cubicBezTo>
                  <a:close/>
                  <a:moveTo>
                    <a:pt x="536" y="563"/>
                  </a:moveTo>
                  <a:cubicBezTo>
                    <a:pt x="541" y="567"/>
                    <a:pt x="549" y="564"/>
                    <a:pt x="550" y="557"/>
                  </a:cubicBezTo>
                  <a:cubicBezTo>
                    <a:pt x="550" y="552"/>
                    <a:pt x="547" y="546"/>
                    <a:pt x="540" y="547"/>
                  </a:cubicBezTo>
                  <a:cubicBezTo>
                    <a:pt x="531" y="548"/>
                    <a:pt x="529" y="559"/>
                    <a:pt x="536" y="563"/>
                  </a:cubicBezTo>
                  <a:close/>
                  <a:moveTo>
                    <a:pt x="807" y="615"/>
                  </a:moveTo>
                  <a:cubicBezTo>
                    <a:pt x="799" y="616"/>
                    <a:pt x="798" y="628"/>
                    <a:pt x="803" y="632"/>
                  </a:cubicBezTo>
                  <a:cubicBezTo>
                    <a:pt x="808" y="635"/>
                    <a:pt x="814" y="631"/>
                    <a:pt x="815" y="625"/>
                  </a:cubicBezTo>
                  <a:cubicBezTo>
                    <a:pt x="816" y="620"/>
                    <a:pt x="813" y="615"/>
                    <a:pt x="807" y="615"/>
                  </a:cubicBezTo>
                  <a:close/>
                  <a:moveTo>
                    <a:pt x="830" y="593"/>
                  </a:moveTo>
                  <a:cubicBezTo>
                    <a:pt x="822" y="594"/>
                    <a:pt x="821" y="605"/>
                    <a:pt x="826" y="609"/>
                  </a:cubicBezTo>
                  <a:cubicBezTo>
                    <a:pt x="831" y="612"/>
                    <a:pt x="837" y="609"/>
                    <a:pt x="838" y="602"/>
                  </a:cubicBezTo>
                  <a:cubicBezTo>
                    <a:pt x="838" y="598"/>
                    <a:pt x="836" y="592"/>
                    <a:pt x="830" y="593"/>
                  </a:cubicBezTo>
                  <a:close/>
                  <a:moveTo>
                    <a:pt x="821" y="429"/>
                  </a:moveTo>
                  <a:cubicBezTo>
                    <a:pt x="826" y="432"/>
                    <a:pt x="832" y="429"/>
                    <a:pt x="832" y="423"/>
                  </a:cubicBezTo>
                  <a:cubicBezTo>
                    <a:pt x="832" y="418"/>
                    <a:pt x="828" y="413"/>
                    <a:pt x="823" y="413"/>
                  </a:cubicBezTo>
                  <a:cubicBezTo>
                    <a:pt x="815" y="415"/>
                    <a:pt x="815" y="425"/>
                    <a:pt x="821" y="429"/>
                  </a:cubicBezTo>
                  <a:close/>
                  <a:moveTo>
                    <a:pt x="808" y="593"/>
                  </a:moveTo>
                  <a:cubicBezTo>
                    <a:pt x="800" y="594"/>
                    <a:pt x="799" y="605"/>
                    <a:pt x="805" y="609"/>
                  </a:cubicBezTo>
                  <a:cubicBezTo>
                    <a:pt x="809" y="612"/>
                    <a:pt x="815" y="609"/>
                    <a:pt x="816" y="602"/>
                  </a:cubicBezTo>
                  <a:cubicBezTo>
                    <a:pt x="817" y="598"/>
                    <a:pt x="814" y="592"/>
                    <a:pt x="808" y="593"/>
                  </a:cubicBezTo>
                  <a:close/>
                  <a:moveTo>
                    <a:pt x="809" y="570"/>
                  </a:moveTo>
                  <a:cubicBezTo>
                    <a:pt x="801" y="571"/>
                    <a:pt x="800" y="583"/>
                    <a:pt x="805" y="587"/>
                  </a:cubicBezTo>
                  <a:cubicBezTo>
                    <a:pt x="810" y="590"/>
                    <a:pt x="816" y="586"/>
                    <a:pt x="817" y="580"/>
                  </a:cubicBezTo>
                  <a:cubicBezTo>
                    <a:pt x="817" y="575"/>
                    <a:pt x="815" y="569"/>
                    <a:pt x="809" y="570"/>
                  </a:cubicBezTo>
                  <a:close/>
                  <a:moveTo>
                    <a:pt x="809" y="547"/>
                  </a:moveTo>
                  <a:cubicBezTo>
                    <a:pt x="801" y="548"/>
                    <a:pt x="800" y="560"/>
                    <a:pt x="806" y="564"/>
                  </a:cubicBezTo>
                  <a:cubicBezTo>
                    <a:pt x="811" y="567"/>
                    <a:pt x="817" y="563"/>
                    <a:pt x="817" y="557"/>
                  </a:cubicBezTo>
                  <a:cubicBezTo>
                    <a:pt x="818" y="552"/>
                    <a:pt x="815" y="546"/>
                    <a:pt x="809" y="547"/>
                  </a:cubicBezTo>
                  <a:close/>
                  <a:moveTo>
                    <a:pt x="890" y="366"/>
                  </a:moveTo>
                  <a:cubicBezTo>
                    <a:pt x="895" y="369"/>
                    <a:pt x="899" y="365"/>
                    <a:pt x="898" y="359"/>
                  </a:cubicBezTo>
                  <a:cubicBezTo>
                    <a:pt x="897" y="356"/>
                    <a:pt x="894" y="350"/>
                    <a:pt x="889" y="351"/>
                  </a:cubicBezTo>
                  <a:cubicBezTo>
                    <a:pt x="883" y="352"/>
                    <a:pt x="885" y="362"/>
                    <a:pt x="890" y="366"/>
                  </a:cubicBezTo>
                  <a:close/>
                  <a:moveTo>
                    <a:pt x="908" y="366"/>
                  </a:moveTo>
                  <a:cubicBezTo>
                    <a:pt x="912" y="369"/>
                    <a:pt x="916" y="365"/>
                    <a:pt x="915" y="359"/>
                  </a:cubicBezTo>
                  <a:cubicBezTo>
                    <a:pt x="915" y="356"/>
                    <a:pt x="911" y="350"/>
                    <a:pt x="907" y="351"/>
                  </a:cubicBezTo>
                  <a:cubicBezTo>
                    <a:pt x="901" y="352"/>
                    <a:pt x="903" y="362"/>
                    <a:pt x="908" y="366"/>
                  </a:cubicBezTo>
                  <a:close/>
                  <a:moveTo>
                    <a:pt x="895" y="387"/>
                  </a:moveTo>
                  <a:cubicBezTo>
                    <a:pt x="899" y="389"/>
                    <a:pt x="903" y="386"/>
                    <a:pt x="903" y="380"/>
                  </a:cubicBezTo>
                  <a:cubicBezTo>
                    <a:pt x="902" y="376"/>
                    <a:pt x="899" y="371"/>
                    <a:pt x="894" y="371"/>
                  </a:cubicBezTo>
                  <a:cubicBezTo>
                    <a:pt x="887" y="372"/>
                    <a:pt x="889" y="383"/>
                    <a:pt x="895" y="387"/>
                  </a:cubicBezTo>
                  <a:close/>
                  <a:moveTo>
                    <a:pt x="936" y="345"/>
                  </a:moveTo>
                  <a:cubicBezTo>
                    <a:pt x="941" y="348"/>
                    <a:pt x="944" y="345"/>
                    <a:pt x="942" y="339"/>
                  </a:cubicBezTo>
                  <a:cubicBezTo>
                    <a:pt x="942" y="335"/>
                    <a:pt x="938" y="330"/>
                    <a:pt x="934" y="330"/>
                  </a:cubicBezTo>
                  <a:cubicBezTo>
                    <a:pt x="929" y="332"/>
                    <a:pt x="931" y="342"/>
                    <a:pt x="936" y="345"/>
                  </a:cubicBezTo>
                  <a:close/>
                  <a:moveTo>
                    <a:pt x="958" y="366"/>
                  </a:moveTo>
                  <a:cubicBezTo>
                    <a:pt x="962" y="368"/>
                    <a:pt x="965" y="365"/>
                    <a:pt x="963" y="359"/>
                  </a:cubicBezTo>
                  <a:cubicBezTo>
                    <a:pt x="963" y="356"/>
                    <a:pt x="959" y="350"/>
                    <a:pt x="955" y="351"/>
                  </a:cubicBezTo>
                  <a:cubicBezTo>
                    <a:pt x="950" y="352"/>
                    <a:pt x="953" y="363"/>
                    <a:pt x="958" y="366"/>
                  </a:cubicBezTo>
                  <a:close/>
                  <a:moveTo>
                    <a:pt x="550" y="602"/>
                  </a:moveTo>
                  <a:cubicBezTo>
                    <a:pt x="550" y="598"/>
                    <a:pt x="547" y="592"/>
                    <a:pt x="540" y="593"/>
                  </a:cubicBezTo>
                  <a:cubicBezTo>
                    <a:pt x="531" y="594"/>
                    <a:pt x="529" y="604"/>
                    <a:pt x="535" y="608"/>
                  </a:cubicBezTo>
                  <a:cubicBezTo>
                    <a:pt x="541" y="613"/>
                    <a:pt x="549" y="609"/>
                    <a:pt x="550" y="602"/>
                  </a:cubicBezTo>
                  <a:close/>
                  <a:moveTo>
                    <a:pt x="842" y="429"/>
                  </a:moveTo>
                  <a:cubicBezTo>
                    <a:pt x="847" y="432"/>
                    <a:pt x="852" y="429"/>
                    <a:pt x="852" y="423"/>
                  </a:cubicBezTo>
                  <a:cubicBezTo>
                    <a:pt x="852" y="418"/>
                    <a:pt x="849" y="413"/>
                    <a:pt x="843" y="413"/>
                  </a:cubicBezTo>
                  <a:cubicBezTo>
                    <a:pt x="836" y="415"/>
                    <a:pt x="836" y="425"/>
                    <a:pt x="842" y="429"/>
                  </a:cubicBezTo>
                  <a:close/>
                  <a:moveTo>
                    <a:pt x="946" y="325"/>
                  </a:moveTo>
                  <a:cubicBezTo>
                    <a:pt x="949" y="328"/>
                    <a:pt x="952" y="325"/>
                    <a:pt x="951" y="320"/>
                  </a:cubicBezTo>
                  <a:cubicBezTo>
                    <a:pt x="951" y="320"/>
                    <a:pt x="951" y="319"/>
                    <a:pt x="951" y="319"/>
                  </a:cubicBezTo>
                  <a:cubicBezTo>
                    <a:pt x="950" y="315"/>
                    <a:pt x="946" y="310"/>
                    <a:pt x="943" y="311"/>
                  </a:cubicBezTo>
                  <a:cubicBezTo>
                    <a:pt x="938" y="312"/>
                    <a:pt x="940" y="322"/>
                    <a:pt x="946" y="325"/>
                  </a:cubicBezTo>
                  <a:close/>
                  <a:moveTo>
                    <a:pt x="952" y="346"/>
                  </a:moveTo>
                  <a:cubicBezTo>
                    <a:pt x="956" y="348"/>
                    <a:pt x="959" y="344"/>
                    <a:pt x="958" y="339"/>
                  </a:cubicBezTo>
                  <a:cubicBezTo>
                    <a:pt x="957" y="335"/>
                    <a:pt x="953" y="330"/>
                    <a:pt x="949" y="330"/>
                  </a:cubicBezTo>
                  <a:cubicBezTo>
                    <a:pt x="944" y="332"/>
                    <a:pt x="947" y="343"/>
                    <a:pt x="952" y="346"/>
                  </a:cubicBezTo>
                  <a:close/>
                  <a:moveTo>
                    <a:pt x="863" y="429"/>
                  </a:moveTo>
                  <a:cubicBezTo>
                    <a:pt x="867" y="432"/>
                    <a:pt x="872" y="429"/>
                    <a:pt x="872" y="423"/>
                  </a:cubicBezTo>
                  <a:cubicBezTo>
                    <a:pt x="872" y="418"/>
                    <a:pt x="869" y="413"/>
                    <a:pt x="863" y="413"/>
                  </a:cubicBezTo>
                  <a:cubicBezTo>
                    <a:pt x="856" y="415"/>
                    <a:pt x="857" y="426"/>
                    <a:pt x="863" y="429"/>
                  </a:cubicBezTo>
                  <a:close/>
                  <a:moveTo>
                    <a:pt x="851" y="593"/>
                  </a:moveTo>
                  <a:cubicBezTo>
                    <a:pt x="843" y="594"/>
                    <a:pt x="842" y="605"/>
                    <a:pt x="848" y="609"/>
                  </a:cubicBezTo>
                  <a:cubicBezTo>
                    <a:pt x="852" y="612"/>
                    <a:pt x="858" y="609"/>
                    <a:pt x="859" y="602"/>
                  </a:cubicBezTo>
                  <a:cubicBezTo>
                    <a:pt x="859" y="598"/>
                    <a:pt x="857" y="592"/>
                    <a:pt x="851" y="593"/>
                  </a:cubicBezTo>
                  <a:close/>
                  <a:moveTo>
                    <a:pt x="850" y="615"/>
                  </a:moveTo>
                  <a:cubicBezTo>
                    <a:pt x="842" y="616"/>
                    <a:pt x="841" y="628"/>
                    <a:pt x="846" y="632"/>
                  </a:cubicBezTo>
                  <a:cubicBezTo>
                    <a:pt x="850" y="635"/>
                    <a:pt x="856" y="631"/>
                    <a:pt x="857" y="625"/>
                  </a:cubicBezTo>
                  <a:cubicBezTo>
                    <a:pt x="858" y="620"/>
                    <a:pt x="856" y="615"/>
                    <a:pt x="850" y="615"/>
                  </a:cubicBezTo>
                  <a:close/>
                  <a:moveTo>
                    <a:pt x="865" y="451"/>
                  </a:moveTo>
                  <a:cubicBezTo>
                    <a:pt x="870" y="454"/>
                    <a:pt x="875" y="450"/>
                    <a:pt x="875" y="444"/>
                  </a:cubicBezTo>
                  <a:cubicBezTo>
                    <a:pt x="874" y="440"/>
                    <a:pt x="871" y="434"/>
                    <a:pt x="866" y="435"/>
                  </a:cubicBezTo>
                  <a:cubicBezTo>
                    <a:pt x="859" y="436"/>
                    <a:pt x="859" y="447"/>
                    <a:pt x="865" y="451"/>
                  </a:cubicBezTo>
                  <a:close/>
                  <a:moveTo>
                    <a:pt x="867" y="473"/>
                  </a:moveTo>
                  <a:cubicBezTo>
                    <a:pt x="872" y="476"/>
                    <a:pt x="877" y="473"/>
                    <a:pt x="877" y="466"/>
                  </a:cubicBezTo>
                  <a:cubicBezTo>
                    <a:pt x="877" y="462"/>
                    <a:pt x="874" y="456"/>
                    <a:pt x="868" y="457"/>
                  </a:cubicBezTo>
                  <a:cubicBezTo>
                    <a:pt x="861" y="458"/>
                    <a:pt x="861" y="469"/>
                    <a:pt x="867" y="473"/>
                  </a:cubicBezTo>
                  <a:close/>
                  <a:moveTo>
                    <a:pt x="888" y="401"/>
                  </a:moveTo>
                  <a:cubicBezTo>
                    <a:pt x="888" y="397"/>
                    <a:pt x="884" y="392"/>
                    <a:pt x="879" y="392"/>
                  </a:cubicBezTo>
                  <a:cubicBezTo>
                    <a:pt x="872" y="393"/>
                    <a:pt x="873" y="404"/>
                    <a:pt x="879" y="408"/>
                  </a:cubicBezTo>
                  <a:cubicBezTo>
                    <a:pt x="884" y="411"/>
                    <a:pt x="889" y="407"/>
                    <a:pt x="888" y="401"/>
                  </a:cubicBezTo>
                  <a:close/>
                  <a:moveTo>
                    <a:pt x="616" y="413"/>
                  </a:moveTo>
                  <a:cubicBezTo>
                    <a:pt x="607" y="415"/>
                    <a:pt x="606" y="424"/>
                    <a:pt x="612" y="428"/>
                  </a:cubicBezTo>
                  <a:cubicBezTo>
                    <a:pt x="617" y="433"/>
                    <a:pt x="625" y="429"/>
                    <a:pt x="626" y="423"/>
                  </a:cubicBezTo>
                  <a:cubicBezTo>
                    <a:pt x="626" y="419"/>
                    <a:pt x="623" y="413"/>
                    <a:pt x="616" y="413"/>
                  </a:cubicBezTo>
                  <a:close/>
                  <a:moveTo>
                    <a:pt x="592" y="615"/>
                  </a:moveTo>
                  <a:cubicBezTo>
                    <a:pt x="583" y="616"/>
                    <a:pt x="581" y="627"/>
                    <a:pt x="588" y="631"/>
                  </a:cubicBezTo>
                  <a:cubicBezTo>
                    <a:pt x="593" y="635"/>
                    <a:pt x="601" y="631"/>
                    <a:pt x="601" y="625"/>
                  </a:cubicBezTo>
                  <a:cubicBezTo>
                    <a:pt x="602" y="621"/>
                    <a:pt x="599" y="615"/>
                    <a:pt x="592" y="615"/>
                  </a:cubicBezTo>
                  <a:close/>
                  <a:moveTo>
                    <a:pt x="592" y="593"/>
                  </a:moveTo>
                  <a:cubicBezTo>
                    <a:pt x="583" y="594"/>
                    <a:pt x="581" y="605"/>
                    <a:pt x="588" y="609"/>
                  </a:cubicBezTo>
                  <a:cubicBezTo>
                    <a:pt x="593" y="613"/>
                    <a:pt x="601" y="609"/>
                    <a:pt x="602" y="602"/>
                  </a:cubicBezTo>
                  <a:cubicBezTo>
                    <a:pt x="602" y="598"/>
                    <a:pt x="599" y="592"/>
                    <a:pt x="592" y="593"/>
                  </a:cubicBezTo>
                  <a:close/>
                  <a:moveTo>
                    <a:pt x="592" y="570"/>
                  </a:moveTo>
                  <a:cubicBezTo>
                    <a:pt x="583" y="571"/>
                    <a:pt x="581" y="582"/>
                    <a:pt x="588" y="586"/>
                  </a:cubicBezTo>
                  <a:cubicBezTo>
                    <a:pt x="593" y="590"/>
                    <a:pt x="601" y="586"/>
                    <a:pt x="602" y="580"/>
                  </a:cubicBezTo>
                  <a:cubicBezTo>
                    <a:pt x="602" y="575"/>
                    <a:pt x="599" y="569"/>
                    <a:pt x="592" y="570"/>
                  </a:cubicBezTo>
                  <a:close/>
                  <a:moveTo>
                    <a:pt x="600" y="401"/>
                  </a:moveTo>
                  <a:cubicBezTo>
                    <a:pt x="601" y="397"/>
                    <a:pt x="598" y="392"/>
                    <a:pt x="591" y="392"/>
                  </a:cubicBezTo>
                  <a:cubicBezTo>
                    <a:pt x="582" y="393"/>
                    <a:pt x="581" y="402"/>
                    <a:pt x="586" y="407"/>
                  </a:cubicBezTo>
                  <a:cubicBezTo>
                    <a:pt x="592" y="411"/>
                    <a:pt x="600" y="408"/>
                    <a:pt x="600" y="401"/>
                  </a:cubicBezTo>
                  <a:close/>
                  <a:moveTo>
                    <a:pt x="592" y="547"/>
                  </a:moveTo>
                  <a:cubicBezTo>
                    <a:pt x="583" y="548"/>
                    <a:pt x="581" y="559"/>
                    <a:pt x="588" y="563"/>
                  </a:cubicBezTo>
                  <a:cubicBezTo>
                    <a:pt x="593" y="567"/>
                    <a:pt x="601" y="564"/>
                    <a:pt x="602" y="557"/>
                  </a:cubicBezTo>
                  <a:cubicBezTo>
                    <a:pt x="602" y="552"/>
                    <a:pt x="599" y="546"/>
                    <a:pt x="592" y="547"/>
                  </a:cubicBezTo>
                  <a:close/>
                  <a:moveTo>
                    <a:pt x="599" y="359"/>
                  </a:moveTo>
                  <a:cubicBezTo>
                    <a:pt x="600" y="356"/>
                    <a:pt x="597" y="350"/>
                    <a:pt x="590" y="351"/>
                  </a:cubicBezTo>
                  <a:cubicBezTo>
                    <a:pt x="582" y="352"/>
                    <a:pt x="580" y="361"/>
                    <a:pt x="586" y="365"/>
                  </a:cubicBezTo>
                  <a:cubicBezTo>
                    <a:pt x="591" y="369"/>
                    <a:pt x="599" y="366"/>
                    <a:pt x="599" y="359"/>
                  </a:cubicBezTo>
                  <a:close/>
                  <a:moveTo>
                    <a:pt x="1026" y="254"/>
                  </a:moveTo>
                  <a:cubicBezTo>
                    <a:pt x="1024" y="256"/>
                    <a:pt x="1033" y="269"/>
                    <a:pt x="1034" y="268"/>
                  </a:cubicBezTo>
                  <a:cubicBezTo>
                    <a:pt x="1035" y="268"/>
                    <a:pt x="1034" y="266"/>
                    <a:pt x="1032" y="262"/>
                  </a:cubicBezTo>
                  <a:cubicBezTo>
                    <a:pt x="1030" y="258"/>
                    <a:pt x="1027" y="254"/>
                    <a:pt x="1026" y="254"/>
                  </a:cubicBezTo>
                  <a:close/>
                  <a:moveTo>
                    <a:pt x="1046" y="291"/>
                  </a:moveTo>
                  <a:cubicBezTo>
                    <a:pt x="1044" y="293"/>
                    <a:pt x="1052" y="307"/>
                    <a:pt x="1054" y="307"/>
                  </a:cubicBezTo>
                  <a:cubicBezTo>
                    <a:pt x="1055" y="307"/>
                    <a:pt x="1054" y="304"/>
                    <a:pt x="1052" y="300"/>
                  </a:cubicBezTo>
                  <a:cubicBezTo>
                    <a:pt x="1051" y="296"/>
                    <a:pt x="1048" y="291"/>
                    <a:pt x="1046" y="291"/>
                  </a:cubicBezTo>
                  <a:close/>
                  <a:moveTo>
                    <a:pt x="1020" y="254"/>
                  </a:moveTo>
                  <a:cubicBezTo>
                    <a:pt x="1019" y="255"/>
                    <a:pt x="1020" y="258"/>
                    <a:pt x="1023" y="262"/>
                  </a:cubicBezTo>
                  <a:cubicBezTo>
                    <a:pt x="1025" y="265"/>
                    <a:pt x="1028" y="269"/>
                    <a:pt x="1029" y="268"/>
                  </a:cubicBezTo>
                  <a:cubicBezTo>
                    <a:pt x="1030" y="268"/>
                    <a:pt x="1029" y="266"/>
                    <a:pt x="1027" y="262"/>
                  </a:cubicBezTo>
                  <a:cubicBezTo>
                    <a:pt x="1025" y="258"/>
                    <a:pt x="1022" y="254"/>
                    <a:pt x="1020" y="254"/>
                  </a:cubicBezTo>
                  <a:close/>
                  <a:moveTo>
                    <a:pt x="1031" y="272"/>
                  </a:moveTo>
                  <a:cubicBezTo>
                    <a:pt x="1030" y="273"/>
                    <a:pt x="1031" y="276"/>
                    <a:pt x="1033" y="281"/>
                  </a:cubicBezTo>
                  <a:cubicBezTo>
                    <a:pt x="1035" y="284"/>
                    <a:pt x="1038" y="287"/>
                    <a:pt x="1039" y="287"/>
                  </a:cubicBezTo>
                  <a:cubicBezTo>
                    <a:pt x="1040" y="287"/>
                    <a:pt x="1039" y="284"/>
                    <a:pt x="1037" y="281"/>
                  </a:cubicBezTo>
                  <a:cubicBezTo>
                    <a:pt x="1035" y="277"/>
                    <a:pt x="1032" y="272"/>
                    <a:pt x="1031" y="272"/>
                  </a:cubicBezTo>
                  <a:close/>
                  <a:moveTo>
                    <a:pt x="566" y="547"/>
                  </a:moveTo>
                  <a:cubicBezTo>
                    <a:pt x="557" y="548"/>
                    <a:pt x="555" y="559"/>
                    <a:pt x="562" y="563"/>
                  </a:cubicBezTo>
                  <a:cubicBezTo>
                    <a:pt x="567" y="567"/>
                    <a:pt x="575" y="564"/>
                    <a:pt x="576" y="557"/>
                  </a:cubicBezTo>
                  <a:cubicBezTo>
                    <a:pt x="576" y="553"/>
                    <a:pt x="573" y="546"/>
                    <a:pt x="566" y="547"/>
                  </a:cubicBezTo>
                  <a:close/>
                  <a:moveTo>
                    <a:pt x="1036" y="272"/>
                  </a:moveTo>
                  <a:cubicBezTo>
                    <a:pt x="1034" y="274"/>
                    <a:pt x="1043" y="287"/>
                    <a:pt x="1044" y="287"/>
                  </a:cubicBezTo>
                  <a:cubicBezTo>
                    <a:pt x="1045" y="287"/>
                    <a:pt x="1045" y="284"/>
                    <a:pt x="1043" y="281"/>
                  </a:cubicBezTo>
                  <a:cubicBezTo>
                    <a:pt x="1041" y="277"/>
                    <a:pt x="1038" y="272"/>
                    <a:pt x="1036" y="272"/>
                  </a:cubicBezTo>
                  <a:close/>
                  <a:moveTo>
                    <a:pt x="1041" y="291"/>
                  </a:moveTo>
                  <a:cubicBezTo>
                    <a:pt x="1038" y="293"/>
                    <a:pt x="1045" y="306"/>
                    <a:pt x="1048" y="307"/>
                  </a:cubicBezTo>
                  <a:cubicBezTo>
                    <a:pt x="1049" y="307"/>
                    <a:pt x="1049" y="304"/>
                    <a:pt x="1047" y="300"/>
                  </a:cubicBezTo>
                  <a:cubicBezTo>
                    <a:pt x="1045" y="296"/>
                    <a:pt x="1042" y="291"/>
                    <a:pt x="1041" y="291"/>
                  </a:cubicBezTo>
                  <a:close/>
                  <a:moveTo>
                    <a:pt x="1006" y="300"/>
                  </a:moveTo>
                  <a:cubicBezTo>
                    <a:pt x="1006" y="300"/>
                    <a:pt x="1006" y="300"/>
                    <a:pt x="1006" y="300"/>
                  </a:cubicBezTo>
                  <a:cubicBezTo>
                    <a:pt x="1004" y="296"/>
                    <a:pt x="1001" y="291"/>
                    <a:pt x="998" y="291"/>
                  </a:cubicBezTo>
                  <a:cubicBezTo>
                    <a:pt x="994" y="293"/>
                    <a:pt x="999" y="304"/>
                    <a:pt x="1004" y="306"/>
                  </a:cubicBezTo>
                  <a:cubicBezTo>
                    <a:pt x="1007" y="308"/>
                    <a:pt x="1008" y="305"/>
                    <a:pt x="1006" y="300"/>
                  </a:cubicBezTo>
                  <a:close/>
                  <a:moveTo>
                    <a:pt x="541" y="351"/>
                  </a:moveTo>
                  <a:cubicBezTo>
                    <a:pt x="533" y="352"/>
                    <a:pt x="531" y="361"/>
                    <a:pt x="536" y="365"/>
                  </a:cubicBezTo>
                  <a:cubicBezTo>
                    <a:pt x="542" y="369"/>
                    <a:pt x="550" y="366"/>
                    <a:pt x="551" y="359"/>
                  </a:cubicBezTo>
                  <a:cubicBezTo>
                    <a:pt x="551" y="356"/>
                    <a:pt x="548" y="350"/>
                    <a:pt x="541" y="351"/>
                  </a:cubicBezTo>
                  <a:close/>
                  <a:moveTo>
                    <a:pt x="541" y="371"/>
                  </a:moveTo>
                  <a:cubicBezTo>
                    <a:pt x="532" y="372"/>
                    <a:pt x="531" y="381"/>
                    <a:pt x="536" y="386"/>
                  </a:cubicBezTo>
                  <a:cubicBezTo>
                    <a:pt x="541" y="390"/>
                    <a:pt x="550" y="387"/>
                    <a:pt x="550" y="380"/>
                  </a:cubicBezTo>
                  <a:cubicBezTo>
                    <a:pt x="551" y="376"/>
                    <a:pt x="548" y="371"/>
                    <a:pt x="541" y="371"/>
                  </a:cubicBezTo>
                  <a:close/>
                  <a:moveTo>
                    <a:pt x="984" y="301"/>
                  </a:moveTo>
                  <a:cubicBezTo>
                    <a:pt x="984" y="301"/>
                    <a:pt x="984" y="300"/>
                    <a:pt x="983" y="300"/>
                  </a:cubicBezTo>
                  <a:cubicBezTo>
                    <a:pt x="982" y="296"/>
                    <a:pt x="978" y="291"/>
                    <a:pt x="975" y="291"/>
                  </a:cubicBezTo>
                  <a:cubicBezTo>
                    <a:pt x="971" y="293"/>
                    <a:pt x="975" y="303"/>
                    <a:pt x="980" y="306"/>
                  </a:cubicBezTo>
                  <a:cubicBezTo>
                    <a:pt x="983" y="308"/>
                    <a:pt x="985" y="306"/>
                    <a:pt x="984" y="301"/>
                  </a:cubicBezTo>
                  <a:close/>
                  <a:moveTo>
                    <a:pt x="541" y="392"/>
                  </a:moveTo>
                  <a:cubicBezTo>
                    <a:pt x="532" y="393"/>
                    <a:pt x="530" y="402"/>
                    <a:pt x="536" y="407"/>
                  </a:cubicBezTo>
                  <a:cubicBezTo>
                    <a:pt x="541" y="411"/>
                    <a:pt x="549" y="408"/>
                    <a:pt x="550" y="401"/>
                  </a:cubicBezTo>
                  <a:cubicBezTo>
                    <a:pt x="551" y="397"/>
                    <a:pt x="548" y="392"/>
                    <a:pt x="541" y="392"/>
                  </a:cubicBezTo>
                  <a:close/>
                  <a:moveTo>
                    <a:pt x="540" y="413"/>
                  </a:moveTo>
                  <a:cubicBezTo>
                    <a:pt x="532" y="415"/>
                    <a:pt x="530" y="424"/>
                    <a:pt x="536" y="428"/>
                  </a:cubicBezTo>
                  <a:cubicBezTo>
                    <a:pt x="541" y="433"/>
                    <a:pt x="549" y="429"/>
                    <a:pt x="550" y="423"/>
                  </a:cubicBezTo>
                  <a:cubicBezTo>
                    <a:pt x="551" y="418"/>
                    <a:pt x="547" y="413"/>
                    <a:pt x="540" y="413"/>
                  </a:cubicBezTo>
                  <a:close/>
                  <a:moveTo>
                    <a:pt x="550" y="625"/>
                  </a:moveTo>
                  <a:cubicBezTo>
                    <a:pt x="550" y="620"/>
                    <a:pt x="547" y="615"/>
                    <a:pt x="540" y="615"/>
                  </a:cubicBezTo>
                  <a:cubicBezTo>
                    <a:pt x="531" y="616"/>
                    <a:pt x="529" y="626"/>
                    <a:pt x="535" y="631"/>
                  </a:cubicBezTo>
                  <a:cubicBezTo>
                    <a:pt x="541" y="635"/>
                    <a:pt x="549" y="632"/>
                    <a:pt x="550" y="625"/>
                  </a:cubicBezTo>
                  <a:close/>
                  <a:moveTo>
                    <a:pt x="566" y="615"/>
                  </a:moveTo>
                  <a:cubicBezTo>
                    <a:pt x="557" y="616"/>
                    <a:pt x="556" y="626"/>
                    <a:pt x="561" y="631"/>
                  </a:cubicBezTo>
                  <a:cubicBezTo>
                    <a:pt x="567" y="635"/>
                    <a:pt x="575" y="632"/>
                    <a:pt x="576" y="625"/>
                  </a:cubicBezTo>
                  <a:cubicBezTo>
                    <a:pt x="576" y="621"/>
                    <a:pt x="573" y="615"/>
                    <a:pt x="566" y="615"/>
                  </a:cubicBezTo>
                  <a:close/>
                  <a:moveTo>
                    <a:pt x="566" y="593"/>
                  </a:moveTo>
                  <a:cubicBezTo>
                    <a:pt x="557" y="594"/>
                    <a:pt x="555" y="604"/>
                    <a:pt x="561" y="608"/>
                  </a:cubicBezTo>
                  <a:cubicBezTo>
                    <a:pt x="567" y="613"/>
                    <a:pt x="575" y="609"/>
                    <a:pt x="576" y="602"/>
                  </a:cubicBezTo>
                  <a:cubicBezTo>
                    <a:pt x="576" y="598"/>
                    <a:pt x="573" y="592"/>
                    <a:pt x="566" y="593"/>
                  </a:cubicBezTo>
                  <a:close/>
                  <a:moveTo>
                    <a:pt x="566" y="570"/>
                  </a:moveTo>
                  <a:cubicBezTo>
                    <a:pt x="557" y="571"/>
                    <a:pt x="555" y="582"/>
                    <a:pt x="562" y="586"/>
                  </a:cubicBezTo>
                  <a:cubicBezTo>
                    <a:pt x="567" y="590"/>
                    <a:pt x="575" y="586"/>
                    <a:pt x="576" y="580"/>
                  </a:cubicBezTo>
                  <a:cubicBezTo>
                    <a:pt x="576" y="575"/>
                    <a:pt x="573" y="569"/>
                    <a:pt x="566" y="570"/>
                  </a:cubicBezTo>
                  <a:close/>
                  <a:moveTo>
                    <a:pt x="967" y="346"/>
                  </a:moveTo>
                  <a:cubicBezTo>
                    <a:pt x="971" y="348"/>
                    <a:pt x="973" y="344"/>
                    <a:pt x="972" y="339"/>
                  </a:cubicBezTo>
                  <a:cubicBezTo>
                    <a:pt x="971" y="335"/>
                    <a:pt x="967" y="330"/>
                    <a:pt x="964" y="330"/>
                  </a:cubicBezTo>
                  <a:cubicBezTo>
                    <a:pt x="959" y="332"/>
                    <a:pt x="962" y="343"/>
                    <a:pt x="967" y="346"/>
                  </a:cubicBezTo>
                  <a:close/>
                  <a:moveTo>
                    <a:pt x="576" y="466"/>
                  </a:moveTo>
                  <a:cubicBezTo>
                    <a:pt x="576" y="462"/>
                    <a:pt x="573" y="456"/>
                    <a:pt x="566" y="457"/>
                  </a:cubicBezTo>
                  <a:cubicBezTo>
                    <a:pt x="557" y="458"/>
                    <a:pt x="555" y="468"/>
                    <a:pt x="561" y="472"/>
                  </a:cubicBezTo>
                  <a:cubicBezTo>
                    <a:pt x="567" y="477"/>
                    <a:pt x="575" y="473"/>
                    <a:pt x="576" y="466"/>
                  </a:cubicBezTo>
                  <a:close/>
                  <a:moveTo>
                    <a:pt x="1016" y="300"/>
                  </a:moveTo>
                  <a:cubicBezTo>
                    <a:pt x="1014" y="296"/>
                    <a:pt x="1011" y="291"/>
                    <a:pt x="1008" y="291"/>
                  </a:cubicBezTo>
                  <a:cubicBezTo>
                    <a:pt x="1005" y="293"/>
                    <a:pt x="1011" y="305"/>
                    <a:pt x="1015" y="306"/>
                  </a:cubicBezTo>
                  <a:cubicBezTo>
                    <a:pt x="1017" y="307"/>
                    <a:pt x="1018" y="304"/>
                    <a:pt x="1016" y="300"/>
                  </a:cubicBezTo>
                  <a:close/>
                  <a:moveTo>
                    <a:pt x="566" y="479"/>
                  </a:moveTo>
                  <a:cubicBezTo>
                    <a:pt x="557" y="480"/>
                    <a:pt x="555" y="490"/>
                    <a:pt x="561" y="495"/>
                  </a:cubicBezTo>
                  <a:cubicBezTo>
                    <a:pt x="567" y="499"/>
                    <a:pt x="575" y="496"/>
                    <a:pt x="576" y="489"/>
                  </a:cubicBezTo>
                  <a:cubicBezTo>
                    <a:pt x="576" y="484"/>
                    <a:pt x="573" y="478"/>
                    <a:pt x="566" y="479"/>
                  </a:cubicBezTo>
                  <a:close/>
                  <a:moveTo>
                    <a:pt x="1037" y="254"/>
                  </a:moveTo>
                  <a:cubicBezTo>
                    <a:pt x="1037" y="255"/>
                    <a:pt x="1044" y="268"/>
                    <a:pt x="1046" y="268"/>
                  </a:cubicBezTo>
                  <a:cubicBezTo>
                    <a:pt x="1046" y="268"/>
                    <a:pt x="1043" y="263"/>
                    <a:pt x="1042" y="262"/>
                  </a:cubicBezTo>
                  <a:cubicBezTo>
                    <a:pt x="1041" y="259"/>
                    <a:pt x="1038" y="254"/>
                    <a:pt x="1037" y="254"/>
                  </a:cubicBezTo>
                  <a:cubicBezTo>
                    <a:pt x="1037" y="254"/>
                    <a:pt x="1037" y="254"/>
                    <a:pt x="1037" y="254"/>
                  </a:cubicBezTo>
                  <a:close/>
                  <a:moveTo>
                    <a:pt x="576" y="511"/>
                  </a:moveTo>
                  <a:cubicBezTo>
                    <a:pt x="576" y="507"/>
                    <a:pt x="573" y="501"/>
                    <a:pt x="566" y="501"/>
                  </a:cubicBezTo>
                  <a:cubicBezTo>
                    <a:pt x="557" y="503"/>
                    <a:pt x="555" y="513"/>
                    <a:pt x="562" y="518"/>
                  </a:cubicBezTo>
                  <a:cubicBezTo>
                    <a:pt x="567" y="521"/>
                    <a:pt x="575" y="518"/>
                    <a:pt x="576" y="511"/>
                  </a:cubicBezTo>
                  <a:close/>
                  <a:moveTo>
                    <a:pt x="562" y="540"/>
                  </a:moveTo>
                  <a:cubicBezTo>
                    <a:pt x="567" y="544"/>
                    <a:pt x="575" y="541"/>
                    <a:pt x="576" y="534"/>
                  </a:cubicBezTo>
                  <a:cubicBezTo>
                    <a:pt x="576" y="529"/>
                    <a:pt x="573" y="524"/>
                    <a:pt x="566" y="524"/>
                  </a:cubicBezTo>
                  <a:cubicBezTo>
                    <a:pt x="557" y="525"/>
                    <a:pt x="555" y="536"/>
                    <a:pt x="562" y="540"/>
                  </a:cubicBezTo>
                  <a:close/>
                  <a:moveTo>
                    <a:pt x="1055" y="281"/>
                  </a:moveTo>
                  <a:cubicBezTo>
                    <a:pt x="1053" y="277"/>
                    <a:pt x="1050" y="273"/>
                    <a:pt x="1050" y="272"/>
                  </a:cubicBezTo>
                  <a:cubicBezTo>
                    <a:pt x="1050" y="272"/>
                    <a:pt x="1050" y="272"/>
                    <a:pt x="1050" y="272"/>
                  </a:cubicBezTo>
                  <a:cubicBezTo>
                    <a:pt x="1050" y="274"/>
                    <a:pt x="1057" y="287"/>
                    <a:pt x="1058" y="287"/>
                  </a:cubicBezTo>
                  <a:cubicBezTo>
                    <a:pt x="1058" y="287"/>
                    <a:pt x="1055" y="282"/>
                    <a:pt x="1055" y="281"/>
                  </a:cubicBezTo>
                  <a:close/>
                  <a:moveTo>
                    <a:pt x="1048" y="272"/>
                  </a:moveTo>
                  <a:cubicBezTo>
                    <a:pt x="1047" y="274"/>
                    <a:pt x="1055" y="287"/>
                    <a:pt x="1056" y="287"/>
                  </a:cubicBezTo>
                  <a:cubicBezTo>
                    <a:pt x="1056" y="287"/>
                    <a:pt x="1054" y="282"/>
                    <a:pt x="1053" y="281"/>
                  </a:cubicBezTo>
                  <a:cubicBezTo>
                    <a:pt x="1051" y="277"/>
                    <a:pt x="1049" y="273"/>
                    <a:pt x="1048" y="272"/>
                  </a:cubicBezTo>
                  <a:cubicBezTo>
                    <a:pt x="1048" y="272"/>
                    <a:pt x="1048" y="272"/>
                    <a:pt x="1048" y="272"/>
                  </a:cubicBezTo>
                  <a:close/>
                  <a:moveTo>
                    <a:pt x="1047" y="268"/>
                  </a:moveTo>
                  <a:cubicBezTo>
                    <a:pt x="1047" y="268"/>
                    <a:pt x="1045" y="263"/>
                    <a:pt x="1044" y="262"/>
                  </a:cubicBezTo>
                  <a:cubicBezTo>
                    <a:pt x="1042" y="258"/>
                    <a:pt x="1039" y="254"/>
                    <a:pt x="1039" y="254"/>
                  </a:cubicBezTo>
                  <a:cubicBezTo>
                    <a:pt x="1039" y="254"/>
                    <a:pt x="1039" y="254"/>
                    <a:pt x="1039" y="254"/>
                  </a:cubicBezTo>
                  <a:cubicBezTo>
                    <a:pt x="1039" y="255"/>
                    <a:pt x="1047" y="268"/>
                    <a:pt x="1047" y="268"/>
                  </a:cubicBezTo>
                  <a:close/>
                  <a:moveTo>
                    <a:pt x="961" y="326"/>
                  </a:moveTo>
                  <a:cubicBezTo>
                    <a:pt x="964" y="328"/>
                    <a:pt x="967" y="324"/>
                    <a:pt x="965" y="319"/>
                  </a:cubicBezTo>
                  <a:cubicBezTo>
                    <a:pt x="964" y="315"/>
                    <a:pt x="961" y="310"/>
                    <a:pt x="957" y="311"/>
                  </a:cubicBezTo>
                  <a:cubicBezTo>
                    <a:pt x="952" y="312"/>
                    <a:pt x="956" y="323"/>
                    <a:pt x="961" y="326"/>
                  </a:cubicBezTo>
                  <a:close/>
                  <a:moveTo>
                    <a:pt x="575" y="401"/>
                  </a:moveTo>
                  <a:cubicBezTo>
                    <a:pt x="576" y="397"/>
                    <a:pt x="573" y="392"/>
                    <a:pt x="566" y="392"/>
                  </a:cubicBezTo>
                  <a:cubicBezTo>
                    <a:pt x="557" y="393"/>
                    <a:pt x="556" y="402"/>
                    <a:pt x="561" y="407"/>
                  </a:cubicBezTo>
                  <a:cubicBezTo>
                    <a:pt x="567" y="411"/>
                    <a:pt x="575" y="408"/>
                    <a:pt x="575" y="401"/>
                  </a:cubicBezTo>
                  <a:close/>
                  <a:moveTo>
                    <a:pt x="576" y="423"/>
                  </a:moveTo>
                  <a:cubicBezTo>
                    <a:pt x="576" y="419"/>
                    <a:pt x="573" y="413"/>
                    <a:pt x="566" y="413"/>
                  </a:cubicBezTo>
                  <a:cubicBezTo>
                    <a:pt x="557" y="415"/>
                    <a:pt x="555" y="424"/>
                    <a:pt x="561" y="428"/>
                  </a:cubicBezTo>
                  <a:cubicBezTo>
                    <a:pt x="567" y="433"/>
                    <a:pt x="575" y="429"/>
                    <a:pt x="576" y="423"/>
                  </a:cubicBezTo>
                  <a:close/>
                  <a:moveTo>
                    <a:pt x="575" y="380"/>
                  </a:moveTo>
                  <a:cubicBezTo>
                    <a:pt x="576" y="376"/>
                    <a:pt x="573" y="371"/>
                    <a:pt x="566" y="371"/>
                  </a:cubicBezTo>
                  <a:cubicBezTo>
                    <a:pt x="557" y="372"/>
                    <a:pt x="556" y="381"/>
                    <a:pt x="561" y="386"/>
                  </a:cubicBezTo>
                  <a:cubicBezTo>
                    <a:pt x="567" y="390"/>
                    <a:pt x="575" y="387"/>
                    <a:pt x="575" y="380"/>
                  </a:cubicBezTo>
                  <a:close/>
                  <a:moveTo>
                    <a:pt x="575" y="359"/>
                  </a:moveTo>
                  <a:cubicBezTo>
                    <a:pt x="575" y="356"/>
                    <a:pt x="573" y="350"/>
                    <a:pt x="566" y="351"/>
                  </a:cubicBezTo>
                  <a:cubicBezTo>
                    <a:pt x="557" y="352"/>
                    <a:pt x="556" y="361"/>
                    <a:pt x="561" y="365"/>
                  </a:cubicBezTo>
                  <a:cubicBezTo>
                    <a:pt x="566" y="369"/>
                    <a:pt x="574" y="366"/>
                    <a:pt x="575" y="359"/>
                  </a:cubicBezTo>
                  <a:close/>
                  <a:moveTo>
                    <a:pt x="997" y="408"/>
                  </a:moveTo>
                  <a:cubicBezTo>
                    <a:pt x="1001" y="410"/>
                    <a:pt x="1003" y="407"/>
                    <a:pt x="1003" y="401"/>
                  </a:cubicBezTo>
                  <a:cubicBezTo>
                    <a:pt x="1002" y="397"/>
                    <a:pt x="999" y="392"/>
                    <a:pt x="995" y="392"/>
                  </a:cubicBezTo>
                  <a:cubicBezTo>
                    <a:pt x="990" y="393"/>
                    <a:pt x="992" y="405"/>
                    <a:pt x="997" y="408"/>
                  </a:cubicBezTo>
                  <a:close/>
                  <a:moveTo>
                    <a:pt x="962" y="423"/>
                  </a:moveTo>
                  <a:cubicBezTo>
                    <a:pt x="961" y="418"/>
                    <a:pt x="958" y="413"/>
                    <a:pt x="954" y="413"/>
                  </a:cubicBezTo>
                  <a:cubicBezTo>
                    <a:pt x="948" y="415"/>
                    <a:pt x="950" y="426"/>
                    <a:pt x="955" y="430"/>
                  </a:cubicBezTo>
                  <a:cubicBezTo>
                    <a:pt x="959" y="432"/>
                    <a:pt x="962" y="428"/>
                    <a:pt x="962" y="423"/>
                  </a:cubicBezTo>
                  <a:close/>
                  <a:moveTo>
                    <a:pt x="983" y="408"/>
                  </a:moveTo>
                  <a:cubicBezTo>
                    <a:pt x="986" y="410"/>
                    <a:pt x="989" y="407"/>
                    <a:pt x="988" y="401"/>
                  </a:cubicBezTo>
                  <a:cubicBezTo>
                    <a:pt x="988" y="397"/>
                    <a:pt x="985" y="392"/>
                    <a:pt x="981" y="392"/>
                  </a:cubicBezTo>
                  <a:cubicBezTo>
                    <a:pt x="975" y="393"/>
                    <a:pt x="978" y="405"/>
                    <a:pt x="983" y="408"/>
                  </a:cubicBezTo>
                  <a:close/>
                  <a:moveTo>
                    <a:pt x="971" y="430"/>
                  </a:moveTo>
                  <a:cubicBezTo>
                    <a:pt x="975" y="432"/>
                    <a:pt x="978" y="428"/>
                    <a:pt x="978" y="423"/>
                  </a:cubicBezTo>
                  <a:cubicBezTo>
                    <a:pt x="977" y="418"/>
                    <a:pt x="974" y="413"/>
                    <a:pt x="970" y="413"/>
                  </a:cubicBezTo>
                  <a:cubicBezTo>
                    <a:pt x="964" y="415"/>
                    <a:pt x="966" y="426"/>
                    <a:pt x="971" y="430"/>
                  </a:cubicBezTo>
                  <a:close/>
                  <a:moveTo>
                    <a:pt x="967" y="408"/>
                  </a:moveTo>
                  <a:cubicBezTo>
                    <a:pt x="971" y="410"/>
                    <a:pt x="974" y="407"/>
                    <a:pt x="973" y="401"/>
                  </a:cubicBezTo>
                  <a:cubicBezTo>
                    <a:pt x="973" y="397"/>
                    <a:pt x="970" y="392"/>
                    <a:pt x="966" y="392"/>
                  </a:cubicBezTo>
                  <a:cubicBezTo>
                    <a:pt x="960" y="393"/>
                    <a:pt x="962" y="405"/>
                    <a:pt x="967" y="408"/>
                  </a:cubicBezTo>
                  <a:close/>
                  <a:moveTo>
                    <a:pt x="973" y="366"/>
                  </a:moveTo>
                  <a:cubicBezTo>
                    <a:pt x="977" y="368"/>
                    <a:pt x="979" y="365"/>
                    <a:pt x="978" y="359"/>
                  </a:cubicBezTo>
                  <a:cubicBezTo>
                    <a:pt x="977" y="356"/>
                    <a:pt x="974" y="350"/>
                    <a:pt x="970" y="351"/>
                  </a:cubicBezTo>
                  <a:cubicBezTo>
                    <a:pt x="965" y="352"/>
                    <a:pt x="968" y="363"/>
                    <a:pt x="973" y="366"/>
                  </a:cubicBezTo>
                  <a:close/>
                  <a:moveTo>
                    <a:pt x="990" y="451"/>
                  </a:moveTo>
                  <a:cubicBezTo>
                    <a:pt x="994" y="454"/>
                    <a:pt x="997" y="450"/>
                    <a:pt x="996" y="444"/>
                  </a:cubicBezTo>
                  <a:cubicBezTo>
                    <a:pt x="996" y="440"/>
                    <a:pt x="993" y="434"/>
                    <a:pt x="989" y="435"/>
                  </a:cubicBezTo>
                  <a:cubicBezTo>
                    <a:pt x="983" y="436"/>
                    <a:pt x="985" y="448"/>
                    <a:pt x="990" y="451"/>
                  </a:cubicBezTo>
                  <a:close/>
                  <a:moveTo>
                    <a:pt x="1067" y="304"/>
                  </a:moveTo>
                  <a:cubicBezTo>
                    <a:pt x="1065" y="301"/>
                    <a:pt x="1064" y="297"/>
                    <a:pt x="1062" y="293"/>
                  </a:cubicBezTo>
                  <a:cubicBezTo>
                    <a:pt x="1062" y="293"/>
                    <a:pt x="1062" y="293"/>
                    <a:pt x="1062" y="293"/>
                  </a:cubicBezTo>
                  <a:cubicBezTo>
                    <a:pt x="1061" y="292"/>
                    <a:pt x="1061" y="292"/>
                    <a:pt x="1061" y="291"/>
                  </a:cubicBezTo>
                  <a:cubicBezTo>
                    <a:pt x="1061" y="291"/>
                    <a:pt x="1061" y="291"/>
                    <a:pt x="1061" y="291"/>
                  </a:cubicBezTo>
                  <a:cubicBezTo>
                    <a:pt x="1061" y="293"/>
                    <a:pt x="1068" y="305"/>
                    <a:pt x="1068" y="307"/>
                  </a:cubicBezTo>
                  <a:cubicBezTo>
                    <a:pt x="1068" y="306"/>
                    <a:pt x="1068" y="306"/>
                    <a:pt x="1067" y="304"/>
                  </a:cubicBezTo>
                  <a:close/>
                  <a:moveTo>
                    <a:pt x="1065" y="300"/>
                  </a:moveTo>
                  <a:cubicBezTo>
                    <a:pt x="1063" y="296"/>
                    <a:pt x="1060" y="292"/>
                    <a:pt x="1060" y="291"/>
                  </a:cubicBezTo>
                  <a:cubicBezTo>
                    <a:pt x="1060" y="291"/>
                    <a:pt x="1060" y="291"/>
                    <a:pt x="1060" y="291"/>
                  </a:cubicBezTo>
                  <a:cubicBezTo>
                    <a:pt x="1060" y="293"/>
                    <a:pt x="1067" y="306"/>
                    <a:pt x="1068" y="307"/>
                  </a:cubicBezTo>
                  <a:cubicBezTo>
                    <a:pt x="1068" y="306"/>
                    <a:pt x="1065" y="301"/>
                    <a:pt x="1065" y="300"/>
                  </a:cubicBezTo>
                  <a:close/>
                  <a:moveTo>
                    <a:pt x="576" y="444"/>
                  </a:moveTo>
                  <a:cubicBezTo>
                    <a:pt x="576" y="440"/>
                    <a:pt x="573" y="434"/>
                    <a:pt x="566" y="435"/>
                  </a:cubicBezTo>
                  <a:cubicBezTo>
                    <a:pt x="557" y="436"/>
                    <a:pt x="555" y="446"/>
                    <a:pt x="561" y="450"/>
                  </a:cubicBezTo>
                  <a:cubicBezTo>
                    <a:pt x="567" y="455"/>
                    <a:pt x="575" y="451"/>
                    <a:pt x="576" y="444"/>
                  </a:cubicBezTo>
                  <a:close/>
                  <a:moveTo>
                    <a:pt x="1057" y="285"/>
                  </a:moveTo>
                  <a:cubicBezTo>
                    <a:pt x="1056" y="282"/>
                    <a:pt x="1054" y="278"/>
                    <a:pt x="1052" y="274"/>
                  </a:cubicBezTo>
                  <a:cubicBezTo>
                    <a:pt x="1051" y="274"/>
                    <a:pt x="1051" y="274"/>
                    <a:pt x="1051" y="274"/>
                  </a:cubicBezTo>
                  <a:cubicBezTo>
                    <a:pt x="1051" y="273"/>
                    <a:pt x="1051" y="273"/>
                    <a:pt x="1050" y="272"/>
                  </a:cubicBezTo>
                  <a:cubicBezTo>
                    <a:pt x="1050" y="272"/>
                    <a:pt x="1050" y="272"/>
                    <a:pt x="1050" y="272"/>
                  </a:cubicBezTo>
                  <a:cubicBezTo>
                    <a:pt x="1051" y="274"/>
                    <a:pt x="1058" y="286"/>
                    <a:pt x="1059" y="287"/>
                  </a:cubicBezTo>
                  <a:cubicBezTo>
                    <a:pt x="1058" y="287"/>
                    <a:pt x="1058" y="287"/>
                    <a:pt x="1057" y="285"/>
                  </a:cubicBezTo>
                  <a:close/>
                  <a:moveTo>
                    <a:pt x="987" y="430"/>
                  </a:moveTo>
                  <a:cubicBezTo>
                    <a:pt x="990" y="432"/>
                    <a:pt x="993" y="428"/>
                    <a:pt x="993" y="423"/>
                  </a:cubicBezTo>
                  <a:cubicBezTo>
                    <a:pt x="992" y="418"/>
                    <a:pt x="989" y="413"/>
                    <a:pt x="985" y="413"/>
                  </a:cubicBezTo>
                  <a:cubicBezTo>
                    <a:pt x="980" y="415"/>
                    <a:pt x="982" y="426"/>
                    <a:pt x="987" y="430"/>
                  </a:cubicBezTo>
                  <a:close/>
                  <a:moveTo>
                    <a:pt x="984" y="380"/>
                  </a:moveTo>
                  <a:cubicBezTo>
                    <a:pt x="983" y="376"/>
                    <a:pt x="980" y="371"/>
                    <a:pt x="976" y="371"/>
                  </a:cubicBezTo>
                  <a:cubicBezTo>
                    <a:pt x="970" y="373"/>
                    <a:pt x="973" y="384"/>
                    <a:pt x="978" y="387"/>
                  </a:cubicBezTo>
                  <a:cubicBezTo>
                    <a:pt x="982" y="389"/>
                    <a:pt x="985" y="386"/>
                    <a:pt x="984" y="380"/>
                  </a:cubicBezTo>
                  <a:close/>
                  <a:moveTo>
                    <a:pt x="540" y="501"/>
                  </a:moveTo>
                  <a:cubicBezTo>
                    <a:pt x="531" y="503"/>
                    <a:pt x="529" y="513"/>
                    <a:pt x="536" y="518"/>
                  </a:cubicBezTo>
                  <a:cubicBezTo>
                    <a:pt x="541" y="521"/>
                    <a:pt x="549" y="518"/>
                    <a:pt x="550" y="511"/>
                  </a:cubicBezTo>
                  <a:cubicBezTo>
                    <a:pt x="550" y="507"/>
                    <a:pt x="547" y="501"/>
                    <a:pt x="540" y="501"/>
                  </a:cubicBezTo>
                  <a:close/>
                  <a:moveTo>
                    <a:pt x="438" y="501"/>
                  </a:moveTo>
                  <a:cubicBezTo>
                    <a:pt x="430" y="503"/>
                    <a:pt x="428" y="513"/>
                    <a:pt x="434" y="518"/>
                  </a:cubicBezTo>
                  <a:cubicBezTo>
                    <a:pt x="439" y="521"/>
                    <a:pt x="447" y="518"/>
                    <a:pt x="448" y="511"/>
                  </a:cubicBezTo>
                  <a:cubicBezTo>
                    <a:pt x="448" y="507"/>
                    <a:pt x="445" y="501"/>
                    <a:pt x="438" y="501"/>
                  </a:cubicBezTo>
                  <a:close/>
                  <a:moveTo>
                    <a:pt x="464" y="457"/>
                  </a:moveTo>
                  <a:cubicBezTo>
                    <a:pt x="455" y="458"/>
                    <a:pt x="454" y="468"/>
                    <a:pt x="460" y="473"/>
                  </a:cubicBezTo>
                  <a:cubicBezTo>
                    <a:pt x="465" y="476"/>
                    <a:pt x="473" y="473"/>
                    <a:pt x="473" y="466"/>
                  </a:cubicBezTo>
                  <a:cubicBezTo>
                    <a:pt x="474" y="462"/>
                    <a:pt x="471" y="456"/>
                    <a:pt x="464" y="457"/>
                  </a:cubicBezTo>
                  <a:close/>
                  <a:moveTo>
                    <a:pt x="464" y="479"/>
                  </a:moveTo>
                  <a:cubicBezTo>
                    <a:pt x="455" y="480"/>
                    <a:pt x="453" y="491"/>
                    <a:pt x="459" y="495"/>
                  </a:cubicBezTo>
                  <a:cubicBezTo>
                    <a:pt x="465" y="499"/>
                    <a:pt x="472" y="495"/>
                    <a:pt x="473" y="489"/>
                  </a:cubicBezTo>
                  <a:cubicBezTo>
                    <a:pt x="473" y="484"/>
                    <a:pt x="471" y="478"/>
                    <a:pt x="464" y="479"/>
                  </a:cubicBezTo>
                  <a:close/>
                  <a:moveTo>
                    <a:pt x="439" y="479"/>
                  </a:moveTo>
                  <a:cubicBezTo>
                    <a:pt x="430" y="480"/>
                    <a:pt x="429" y="491"/>
                    <a:pt x="435" y="495"/>
                  </a:cubicBezTo>
                  <a:cubicBezTo>
                    <a:pt x="440" y="499"/>
                    <a:pt x="447" y="495"/>
                    <a:pt x="448" y="489"/>
                  </a:cubicBezTo>
                  <a:cubicBezTo>
                    <a:pt x="448" y="484"/>
                    <a:pt x="446" y="478"/>
                    <a:pt x="439" y="479"/>
                  </a:cubicBezTo>
                  <a:close/>
                  <a:moveTo>
                    <a:pt x="438" y="524"/>
                  </a:moveTo>
                  <a:cubicBezTo>
                    <a:pt x="429" y="525"/>
                    <a:pt x="428" y="536"/>
                    <a:pt x="434" y="540"/>
                  </a:cubicBezTo>
                  <a:cubicBezTo>
                    <a:pt x="439" y="544"/>
                    <a:pt x="447" y="541"/>
                    <a:pt x="447" y="534"/>
                  </a:cubicBezTo>
                  <a:cubicBezTo>
                    <a:pt x="448" y="529"/>
                    <a:pt x="445" y="524"/>
                    <a:pt x="438" y="524"/>
                  </a:cubicBezTo>
                  <a:close/>
                  <a:moveTo>
                    <a:pt x="414" y="524"/>
                  </a:moveTo>
                  <a:cubicBezTo>
                    <a:pt x="405" y="525"/>
                    <a:pt x="404" y="536"/>
                    <a:pt x="410" y="540"/>
                  </a:cubicBezTo>
                  <a:cubicBezTo>
                    <a:pt x="415" y="544"/>
                    <a:pt x="422" y="541"/>
                    <a:pt x="423" y="534"/>
                  </a:cubicBezTo>
                  <a:cubicBezTo>
                    <a:pt x="423" y="529"/>
                    <a:pt x="420" y="524"/>
                    <a:pt x="414" y="524"/>
                  </a:cubicBezTo>
                  <a:close/>
                  <a:moveTo>
                    <a:pt x="440" y="457"/>
                  </a:moveTo>
                  <a:cubicBezTo>
                    <a:pt x="431" y="458"/>
                    <a:pt x="429" y="468"/>
                    <a:pt x="435" y="473"/>
                  </a:cubicBezTo>
                  <a:cubicBezTo>
                    <a:pt x="440" y="476"/>
                    <a:pt x="448" y="473"/>
                    <a:pt x="449" y="466"/>
                  </a:cubicBezTo>
                  <a:cubicBezTo>
                    <a:pt x="449" y="462"/>
                    <a:pt x="447" y="456"/>
                    <a:pt x="440" y="457"/>
                  </a:cubicBezTo>
                  <a:close/>
                  <a:moveTo>
                    <a:pt x="414" y="501"/>
                  </a:moveTo>
                  <a:cubicBezTo>
                    <a:pt x="405" y="503"/>
                    <a:pt x="404" y="513"/>
                    <a:pt x="410" y="518"/>
                  </a:cubicBezTo>
                  <a:cubicBezTo>
                    <a:pt x="415" y="521"/>
                    <a:pt x="422" y="518"/>
                    <a:pt x="423" y="511"/>
                  </a:cubicBezTo>
                  <a:cubicBezTo>
                    <a:pt x="423" y="507"/>
                    <a:pt x="421" y="501"/>
                    <a:pt x="414" y="501"/>
                  </a:cubicBezTo>
                  <a:close/>
                  <a:moveTo>
                    <a:pt x="440" y="435"/>
                  </a:moveTo>
                  <a:cubicBezTo>
                    <a:pt x="432" y="436"/>
                    <a:pt x="430" y="446"/>
                    <a:pt x="436" y="451"/>
                  </a:cubicBezTo>
                  <a:cubicBezTo>
                    <a:pt x="441" y="454"/>
                    <a:pt x="448" y="451"/>
                    <a:pt x="449" y="444"/>
                  </a:cubicBezTo>
                  <a:cubicBezTo>
                    <a:pt x="450" y="440"/>
                    <a:pt x="447" y="434"/>
                    <a:pt x="440" y="435"/>
                  </a:cubicBezTo>
                  <a:close/>
                  <a:moveTo>
                    <a:pt x="415" y="457"/>
                  </a:moveTo>
                  <a:cubicBezTo>
                    <a:pt x="407" y="458"/>
                    <a:pt x="405" y="468"/>
                    <a:pt x="411" y="473"/>
                  </a:cubicBezTo>
                  <a:cubicBezTo>
                    <a:pt x="416" y="476"/>
                    <a:pt x="423" y="473"/>
                    <a:pt x="424" y="466"/>
                  </a:cubicBezTo>
                  <a:cubicBezTo>
                    <a:pt x="425" y="462"/>
                    <a:pt x="422" y="456"/>
                    <a:pt x="415" y="457"/>
                  </a:cubicBezTo>
                  <a:close/>
                  <a:moveTo>
                    <a:pt x="463" y="524"/>
                  </a:moveTo>
                  <a:cubicBezTo>
                    <a:pt x="454" y="525"/>
                    <a:pt x="453" y="536"/>
                    <a:pt x="459" y="540"/>
                  </a:cubicBezTo>
                  <a:cubicBezTo>
                    <a:pt x="464" y="544"/>
                    <a:pt x="472" y="541"/>
                    <a:pt x="472" y="534"/>
                  </a:cubicBezTo>
                  <a:cubicBezTo>
                    <a:pt x="473" y="529"/>
                    <a:pt x="470" y="524"/>
                    <a:pt x="463" y="524"/>
                  </a:cubicBezTo>
                  <a:close/>
                  <a:moveTo>
                    <a:pt x="540" y="479"/>
                  </a:moveTo>
                  <a:cubicBezTo>
                    <a:pt x="531" y="480"/>
                    <a:pt x="529" y="490"/>
                    <a:pt x="535" y="495"/>
                  </a:cubicBezTo>
                  <a:cubicBezTo>
                    <a:pt x="541" y="499"/>
                    <a:pt x="549" y="496"/>
                    <a:pt x="550" y="489"/>
                  </a:cubicBezTo>
                  <a:cubicBezTo>
                    <a:pt x="550" y="484"/>
                    <a:pt x="547" y="478"/>
                    <a:pt x="540" y="479"/>
                  </a:cubicBezTo>
                  <a:close/>
                  <a:moveTo>
                    <a:pt x="540" y="457"/>
                  </a:moveTo>
                  <a:cubicBezTo>
                    <a:pt x="531" y="458"/>
                    <a:pt x="529" y="468"/>
                    <a:pt x="535" y="472"/>
                  </a:cubicBezTo>
                  <a:cubicBezTo>
                    <a:pt x="541" y="477"/>
                    <a:pt x="549" y="473"/>
                    <a:pt x="550" y="466"/>
                  </a:cubicBezTo>
                  <a:cubicBezTo>
                    <a:pt x="550" y="462"/>
                    <a:pt x="547" y="456"/>
                    <a:pt x="540" y="457"/>
                  </a:cubicBezTo>
                  <a:close/>
                  <a:moveTo>
                    <a:pt x="540" y="435"/>
                  </a:moveTo>
                  <a:cubicBezTo>
                    <a:pt x="532" y="436"/>
                    <a:pt x="530" y="446"/>
                    <a:pt x="535" y="450"/>
                  </a:cubicBezTo>
                  <a:cubicBezTo>
                    <a:pt x="541" y="454"/>
                    <a:pt x="549" y="451"/>
                    <a:pt x="550" y="444"/>
                  </a:cubicBezTo>
                  <a:cubicBezTo>
                    <a:pt x="550" y="440"/>
                    <a:pt x="547" y="434"/>
                    <a:pt x="540" y="435"/>
                  </a:cubicBezTo>
                  <a:close/>
                  <a:moveTo>
                    <a:pt x="540" y="570"/>
                  </a:moveTo>
                  <a:cubicBezTo>
                    <a:pt x="531" y="571"/>
                    <a:pt x="529" y="582"/>
                    <a:pt x="536" y="586"/>
                  </a:cubicBezTo>
                  <a:cubicBezTo>
                    <a:pt x="541" y="590"/>
                    <a:pt x="549" y="586"/>
                    <a:pt x="550" y="580"/>
                  </a:cubicBezTo>
                  <a:cubicBezTo>
                    <a:pt x="550" y="575"/>
                    <a:pt x="547" y="569"/>
                    <a:pt x="540" y="570"/>
                  </a:cubicBezTo>
                  <a:close/>
                  <a:moveTo>
                    <a:pt x="536" y="540"/>
                  </a:moveTo>
                  <a:cubicBezTo>
                    <a:pt x="541" y="544"/>
                    <a:pt x="549" y="541"/>
                    <a:pt x="550" y="534"/>
                  </a:cubicBezTo>
                  <a:cubicBezTo>
                    <a:pt x="550" y="529"/>
                    <a:pt x="547" y="524"/>
                    <a:pt x="540" y="524"/>
                  </a:cubicBezTo>
                  <a:cubicBezTo>
                    <a:pt x="531" y="525"/>
                    <a:pt x="529" y="536"/>
                    <a:pt x="536" y="540"/>
                  </a:cubicBezTo>
                  <a:close/>
                  <a:moveTo>
                    <a:pt x="510" y="540"/>
                  </a:moveTo>
                  <a:cubicBezTo>
                    <a:pt x="515" y="544"/>
                    <a:pt x="523" y="541"/>
                    <a:pt x="524" y="534"/>
                  </a:cubicBezTo>
                  <a:cubicBezTo>
                    <a:pt x="524" y="529"/>
                    <a:pt x="521" y="524"/>
                    <a:pt x="514" y="524"/>
                  </a:cubicBezTo>
                  <a:cubicBezTo>
                    <a:pt x="505" y="525"/>
                    <a:pt x="503" y="536"/>
                    <a:pt x="510" y="540"/>
                  </a:cubicBezTo>
                  <a:close/>
                  <a:moveTo>
                    <a:pt x="515" y="435"/>
                  </a:moveTo>
                  <a:cubicBezTo>
                    <a:pt x="506" y="436"/>
                    <a:pt x="504" y="446"/>
                    <a:pt x="510" y="451"/>
                  </a:cubicBezTo>
                  <a:cubicBezTo>
                    <a:pt x="516" y="454"/>
                    <a:pt x="524" y="451"/>
                    <a:pt x="524" y="444"/>
                  </a:cubicBezTo>
                  <a:cubicBezTo>
                    <a:pt x="525" y="439"/>
                    <a:pt x="521" y="434"/>
                    <a:pt x="515" y="435"/>
                  </a:cubicBezTo>
                  <a:close/>
                  <a:moveTo>
                    <a:pt x="514" y="457"/>
                  </a:moveTo>
                  <a:cubicBezTo>
                    <a:pt x="505" y="458"/>
                    <a:pt x="504" y="468"/>
                    <a:pt x="510" y="473"/>
                  </a:cubicBezTo>
                  <a:cubicBezTo>
                    <a:pt x="516" y="476"/>
                    <a:pt x="523" y="473"/>
                    <a:pt x="524" y="466"/>
                  </a:cubicBezTo>
                  <a:cubicBezTo>
                    <a:pt x="525" y="462"/>
                    <a:pt x="522" y="456"/>
                    <a:pt x="514" y="457"/>
                  </a:cubicBezTo>
                  <a:close/>
                  <a:moveTo>
                    <a:pt x="514" y="479"/>
                  </a:moveTo>
                  <a:cubicBezTo>
                    <a:pt x="505" y="480"/>
                    <a:pt x="504" y="491"/>
                    <a:pt x="510" y="495"/>
                  </a:cubicBezTo>
                  <a:cubicBezTo>
                    <a:pt x="515" y="499"/>
                    <a:pt x="523" y="495"/>
                    <a:pt x="524" y="489"/>
                  </a:cubicBezTo>
                  <a:cubicBezTo>
                    <a:pt x="524" y="484"/>
                    <a:pt x="522" y="478"/>
                    <a:pt x="514" y="479"/>
                  </a:cubicBezTo>
                  <a:close/>
                  <a:moveTo>
                    <a:pt x="463" y="501"/>
                  </a:moveTo>
                  <a:cubicBezTo>
                    <a:pt x="454" y="503"/>
                    <a:pt x="453" y="513"/>
                    <a:pt x="459" y="518"/>
                  </a:cubicBezTo>
                  <a:cubicBezTo>
                    <a:pt x="464" y="521"/>
                    <a:pt x="472" y="518"/>
                    <a:pt x="473" y="511"/>
                  </a:cubicBezTo>
                  <a:cubicBezTo>
                    <a:pt x="473" y="507"/>
                    <a:pt x="470" y="501"/>
                    <a:pt x="463" y="501"/>
                  </a:cubicBezTo>
                  <a:close/>
                  <a:moveTo>
                    <a:pt x="514" y="501"/>
                  </a:moveTo>
                  <a:cubicBezTo>
                    <a:pt x="505" y="503"/>
                    <a:pt x="503" y="513"/>
                    <a:pt x="510" y="518"/>
                  </a:cubicBezTo>
                  <a:cubicBezTo>
                    <a:pt x="515" y="521"/>
                    <a:pt x="523" y="518"/>
                    <a:pt x="524" y="511"/>
                  </a:cubicBezTo>
                  <a:cubicBezTo>
                    <a:pt x="524" y="506"/>
                    <a:pt x="521" y="501"/>
                    <a:pt x="514" y="501"/>
                  </a:cubicBezTo>
                  <a:close/>
                  <a:moveTo>
                    <a:pt x="969" y="380"/>
                  </a:moveTo>
                  <a:cubicBezTo>
                    <a:pt x="968" y="376"/>
                    <a:pt x="965" y="371"/>
                    <a:pt x="961" y="371"/>
                  </a:cubicBezTo>
                  <a:cubicBezTo>
                    <a:pt x="955" y="373"/>
                    <a:pt x="958" y="384"/>
                    <a:pt x="963" y="387"/>
                  </a:cubicBezTo>
                  <a:cubicBezTo>
                    <a:pt x="967" y="389"/>
                    <a:pt x="970" y="386"/>
                    <a:pt x="969" y="380"/>
                  </a:cubicBezTo>
                  <a:close/>
                  <a:moveTo>
                    <a:pt x="588" y="518"/>
                  </a:moveTo>
                  <a:cubicBezTo>
                    <a:pt x="593" y="521"/>
                    <a:pt x="601" y="518"/>
                    <a:pt x="602" y="511"/>
                  </a:cubicBezTo>
                  <a:cubicBezTo>
                    <a:pt x="602" y="507"/>
                    <a:pt x="599" y="501"/>
                    <a:pt x="592" y="501"/>
                  </a:cubicBezTo>
                  <a:cubicBezTo>
                    <a:pt x="583" y="503"/>
                    <a:pt x="581" y="513"/>
                    <a:pt x="588" y="518"/>
                  </a:cubicBezTo>
                  <a:close/>
                  <a:moveTo>
                    <a:pt x="588" y="540"/>
                  </a:moveTo>
                  <a:cubicBezTo>
                    <a:pt x="593" y="544"/>
                    <a:pt x="601" y="541"/>
                    <a:pt x="602" y="534"/>
                  </a:cubicBezTo>
                  <a:cubicBezTo>
                    <a:pt x="602" y="529"/>
                    <a:pt x="599" y="524"/>
                    <a:pt x="592" y="524"/>
                  </a:cubicBezTo>
                  <a:cubicBezTo>
                    <a:pt x="583" y="525"/>
                    <a:pt x="581" y="536"/>
                    <a:pt x="588" y="540"/>
                  </a:cubicBezTo>
                  <a:close/>
                  <a:moveTo>
                    <a:pt x="601" y="423"/>
                  </a:moveTo>
                  <a:cubicBezTo>
                    <a:pt x="601" y="419"/>
                    <a:pt x="598" y="413"/>
                    <a:pt x="591" y="413"/>
                  </a:cubicBezTo>
                  <a:cubicBezTo>
                    <a:pt x="583" y="415"/>
                    <a:pt x="581" y="424"/>
                    <a:pt x="587" y="428"/>
                  </a:cubicBezTo>
                  <a:cubicBezTo>
                    <a:pt x="592" y="433"/>
                    <a:pt x="600" y="429"/>
                    <a:pt x="601" y="423"/>
                  </a:cubicBezTo>
                  <a:close/>
                  <a:moveTo>
                    <a:pt x="601" y="466"/>
                  </a:moveTo>
                  <a:cubicBezTo>
                    <a:pt x="602" y="462"/>
                    <a:pt x="599" y="456"/>
                    <a:pt x="592" y="457"/>
                  </a:cubicBezTo>
                  <a:cubicBezTo>
                    <a:pt x="583" y="458"/>
                    <a:pt x="581" y="468"/>
                    <a:pt x="587" y="472"/>
                  </a:cubicBezTo>
                  <a:cubicBezTo>
                    <a:pt x="592" y="477"/>
                    <a:pt x="601" y="473"/>
                    <a:pt x="601" y="466"/>
                  </a:cubicBezTo>
                  <a:close/>
                  <a:moveTo>
                    <a:pt x="611" y="407"/>
                  </a:moveTo>
                  <a:cubicBezTo>
                    <a:pt x="617" y="411"/>
                    <a:pt x="624" y="408"/>
                    <a:pt x="625" y="401"/>
                  </a:cubicBezTo>
                  <a:cubicBezTo>
                    <a:pt x="625" y="397"/>
                    <a:pt x="622" y="392"/>
                    <a:pt x="615" y="392"/>
                  </a:cubicBezTo>
                  <a:cubicBezTo>
                    <a:pt x="607" y="393"/>
                    <a:pt x="606" y="402"/>
                    <a:pt x="611" y="407"/>
                  </a:cubicBezTo>
                  <a:close/>
                  <a:moveTo>
                    <a:pt x="588" y="495"/>
                  </a:moveTo>
                  <a:cubicBezTo>
                    <a:pt x="593" y="499"/>
                    <a:pt x="601" y="495"/>
                    <a:pt x="601" y="489"/>
                  </a:cubicBezTo>
                  <a:cubicBezTo>
                    <a:pt x="602" y="484"/>
                    <a:pt x="599" y="478"/>
                    <a:pt x="592" y="479"/>
                  </a:cubicBezTo>
                  <a:cubicBezTo>
                    <a:pt x="583" y="480"/>
                    <a:pt x="581" y="491"/>
                    <a:pt x="588" y="495"/>
                  </a:cubicBezTo>
                  <a:close/>
                  <a:moveTo>
                    <a:pt x="510" y="609"/>
                  </a:moveTo>
                  <a:cubicBezTo>
                    <a:pt x="516" y="613"/>
                    <a:pt x="523" y="609"/>
                    <a:pt x="524" y="602"/>
                  </a:cubicBezTo>
                  <a:cubicBezTo>
                    <a:pt x="524" y="598"/>
                    <a:pt x="521" y="592"/>
                    <a:pt x="514" y="593"/>
                  </a:cubicBezTo>
                  <a:cubicBezTo>
                    <a:pt x="505" y="594"/>
                    <a:pt x="504" y="605"/>
                    <a:pt x="510" y="609"/>
                  </a:cubicBezTo>
                  <a:close/>
                  <a:moveTo>
                    <a:pt x="515" y="413"/>
                  </a:moveTo>
                  <a:cubicBezTo>
                    <a:pt x="507" y="415"/>
                    <a:pt x="505" y="424"/>
                    <a:pt x="510" y="428"/>
                  </a:cubicBezTo>
                  <a:cubicBezTo>
                    <a:pt x="515" y="433"/>
                    <a:pt x="524" y="429"/>
                    <a:pt x="525" y="423"/>
                  </a:cubicBezTo>
                  <a:cubicBezTo>
                    <a:pt x="525" y="419"/>
                    <a:pt x="522" y="413"/>
                    <a:pt x="515" y="413"/>
                  </a:cubicBezTo>
                  <a:close/>
                  <a:moveTo>
                    <a:pt x="516" y="371"/>
                  </a:moveTo>
                  <a:cubicBezTo>
                    <a:pt x="508" y="372"/>
                    <a:pt x="506" y="381"/>
                    <a:pt x="511" y="386"/>
                  </a:cubicBezTo>
                  <a:cubicBezTo>
                    <a:pt x="516" y="390"/>
                    <a:pt x="525" y="387"/>
                    <a:pt x="525" y="380"/>
                  </a:cubicBezTo>
                  <a:cubicBezTo>
                    <a:pt x="526" y="376"/>
                    <a:pt x="523" y="371"/>
                    <a:pt x="516" y="371"/>
                  </a:cubicBezTo>
                  <a:close/>
                  <a:moveTo>
                    <a:pt x="516" y="392"/>
                  </a:moveTo>
                  <a:cubicBezTo>
                    <a:pt x="507" y="393"/>
                    <a:pt x="505" y="403"/>
                    <a:pt x="511" y="407"/>
                  </a:cubicBezTo>
                  <a:cubicBezTo>
                    <a:pt x="517" y="411"/>
                    <a:pt x="524" y="408"/>
                    <a:pt x="525" y="401"/>
                  </a:cubicBezTo>
                  <a:cubicBezTo>
                    <a:pt x="525" y="397"/>
                    <a:pt x="523" y="392"/>
                    <a:pt x="516" y="392"/>
                  </a:cubicBezTo>
                  <a:close/>
                  <a:moveTo>
                    <a:pt x="518" y="311"/>
                  </a:moveTo>
                  <a:cubicBezTo>
                    <a:pt x="510" y="312"/>
                    <a:pt x="508" y="320"/>
                    <a:pt x="513" y="324"/>
                  </a:cubicBezTo>
                  <a:cubicBezTo>
                    <a:pt x="518" y="328"/>
                    <a:pt x="526" y="325"/>
                    <a:pt x="527" y="319"/>
                  </a:cubicBezTo>
                  <a:cubicBezTo>
                    <a:pt x="527" y="316"/>
                    <a:pt x="525" y="310"/>
                    <a:pt x="518" y="311"/>
                  </a:cubicBezTo>
                  <a:close/>
                  <a:moveTo>
                    <a:pt x="601" y="444"/>
                  </a:moveTo>
                  <a:cubicBezTo>
                    <a:pt x="601" y="440"/>
                    <a:pt x="599" y="434"/>
                    <a:pt x="591" y="435"/>
                  </a:cubicBezTo>
                  <a:cubicBezTo>
                    <a:pt x="583" y="436"/>
                    <a:pt x="581" y="446"/>
                    <a:pt x="587" y="450"/>
                  </a:cubicBezTo>
                  <a:cubicBezTo>
                    <a:pt x="592" y="455"/>
                    <a:pt x="600" y="451"/>
                    <a:pt x="601" y="444"/>
                  </a:cubicBezTo>
                  <a:close/>
                  <a:moveTo>
                    <a:pt x="1058" y="291"/>
                  </a:moveTo>
                  <a:cubicBezTo>
                    <a:pt x="1058" y="291"/>
                    <a:pt x="1058" y="291"/>
                    <a:pt x="1058" y="291"/>
                  </a:cubicBezTo>
                  <a:cubicBezTo>
                    <a:pt x="1058" y="293"/>
                    <a:pt x="1064" y="306"/>
                    <a:pt x="1066" y="307"/>
                  </a:cubicBezTo>
                  <a:cubicBezTo>
                    <a:pt x="1066" y="306"/>
                    <a:pt x="1064" y="301"/>
                    <a:pt x="1063" y="300"/>
                  </a:cubicBezTo>
                  <a:cubicBezTo>
                    <a:pt x="1061" y="296"/>
                    <a:pt x="1059" y="292"/>
                    <a:pt x="1058" y="291"/>
                  </a:cubicBezTo>
                  <a:close/>
                  <a:moveTo>
                    <a:pt x="993" y="387"/>
                  </a:moveTo>
                  <a:cubicBezTo>
                    <a:pt x="996" y="389"/>
                    <a:pt x="999" y="386"/>
                    <a:pt x="997" y="380"/>
                  </a:cubicBezTo>
                  <a:cubicBezTo>
                    <a:pt x="997" y="376"/>
                    <a:pt x="994" y="371"/>
                    <a:pt x="990" y="371"/>
                  </a:cubicBezTo>
                  <a:cubicBezTo>
                    <a:pt x="985" y="373"/>
                    <a:pt x="988" y="384"/>
                    <a:pt x="993" y="387"/>
                  </a:cubicBezTo>
                  <a:close/>
                  <a:moveTo>
                    <a:pt x="987" y="366"/>
                  </a:moveTo>
                  <a:cubicBezTo>
                    <a:pt x="991" y="368"/>
                    <a:pt x="993" y="365"/>
                    <a:pt x="992" y="359"/>
                  </a:cubicBezTo>
                  <a:cubicBezTo>
                    <a:pt x="991" y="356"/>
                    <a:pt x="988" y="350"/>
                    <a:pt x="984" y="351"/>
                  </a:cubicBezTo>
                  <a:cubicBezTo>
                    <a:pt x="979" y="352"/>
                    <a:pt x="982" y="363"/>
                    <a:pt x="987" y="366"/>
                  </a:cubicBezTo>
                  <a:close/>
                  <a:moveTo>
                    <a:pt x="1055" y="291"/>
                  </a:moveTo>
                  <a:cubicBezTo>
                    <a:pt x="1054" y="293"/>
                    <a:pt x="1062" y="307"/>
                    <a:pt x="1063" y="307"/>
                  </a:cubicBezTo>
                  <a:cubicBezTo>
                    <a:pt x="1063" y="307"/>
                    <a:pt x="1062" y="304"/>
                    <a:pt x="1061" y="300"/>
                  </a:cubicBezTo>
                  <a:cubicBezTo>
                    <a:pt x="1059" y="296"/>
                    <a:pt x="1056" y="291"/>
                    <a:pt x="1055" y="291"/>
                  </a:cubicBezTo>
                  <a:close/>
                  <a:moveTo>
                    <a:pt x="981" y="346"/>
                  </a:moveTo>
                  <a:cubicBezTo>
                    <a:pt x="985" y="348"/>
                    <a:pt x="987" y="344"/>
                    <a:pt x="985" y="339"/>
                  </a:cubicBezTo>
                  <a:cubicBezTo>
                    <a:pt x="984" y="335"/>
                    <a:pt x="981" y="330"/>
                    <a:pt x="977" y="330"/>
                  </a:cubicBezTo>
                  <a:cubicBezTo>
                    <a:pt x="973" y="332"/>
                    <a:pt x="976" y="343"/>
                    <a:pt x="981" y="346"/>
                  </a:cubicBezTo>
                  <a:close/>
                  <a:moveTo>
                    <a:pt x="1041" y="272"/>
                  </a:moveTo>
                  <a:cubicBezTo>
                    <a:pt x="1040" y="274"/>
                    <a:pt x="1048" y="287"/>
                    <a:pt x="1049" y="287"/>
                  </a:cubicBezTo>
                  <a:cubicBezTo>
                    <a:pt x="1050" y="287"/>
                    <a:pt x="1049" y="284"/>
                    <a:pt x="1047" y="281"/>
                  </a:cubicBezTo>
                  <a:cubicBezTo>
                    <a:pt x="1045" y="277"/>
                    <a:pt x="1042" y="272"/>
                    <a:pt x="1041" y="272"/>
                  </a:cubicBezTo>
                  <a:close/>
                  <a:moveTo>
                    <a:pt x="1030" y="254"/>
                  </a:moveTo>
                  <a:cubicBezTo>
                    <a:pt x="1029" y="256"/>
                    <a:pt x="1038" y="269"/>
                    <a:pt x="1039" y="268"/>
                  </a:cubicBezTo>
                  <a:cubicBezTo>
                    <a:pt x="1040" y="268"/>
                    <a:pt x="1039" y="266"/>
                    <a:pt x="1037" y="262"/>
                  </a:cubicBezTo>
                  <a:cubicBezTo>
                    <a:pt x="1035" y="258"/>
                    <a:pt x="1031" y="254"/>
                    <a:pt x="1030" y="254"/>
                  </a:cubicBezTo>
                  <a:close/>
                  <a:moveTo>
                    <a:pt x="1034" y="254"/>
                  </a:moveTo>
                  <a:cubicBezTo>
                    <a:pt x="1034" y="255"/>
                    <a:pt x="1037" y="260"/>
                    <a:pt x="1038" y="262"/>
                  </a:cubicBezTo>
                  <a:cubicBezTo>
                    <a:pt x="1040" y="266"/>
                    <a:pt x="1042" y="269"/>
                    <a:pt x="1043" y="268"/>
                  </a:cubicBezTo>
                  <a:cubicBezTo>
                    <a:pt x="1043" y="268"/>
                    <a:pt x="1042" y="265"/>
                    <a:pt x="1040" y="262"/>
                  </a:cubicBezTo>
                  <a:cubicBezTo>
                    <a:pt x="1038" y="258"/>
                    <a:pt x="1035" y="254"/>
                    <a:pt x="1034" y="254"/>
                  </a:cubicBezTo>
                  <a:close/>
                  <a:moveTo>
                    <a:pt x="1051" y="291"/>
                  </a:moveTo>
                  <a:cubicBezTo>
                    <a:pt x="1050" y="293"/>
                    <a:pt x="1058" y="307"/>
                    <a:pt x="1059" y="307"/>
                  </a:cubicBezTo>
                  <a:cubicBezTo>
                    <a:pt x="1060" y="307"/>
                    <a:pt x="1059" y="304"/>
                    <a:pt x="1057" y="300"/>
                  </a:cubicBezTo>
                  <a:cubicBezTo>
                    <a:pt x="1055" y="296"/>
                    <a:pt x="1052" y="291"/>
                    <a:pt x="1051" y="291"/>
                  </a:cubicBezTo>
                  <a:close/>
                  <a:moveTo>
                    <a:pt x="510" y="586"/>
                  </a:moveTo>
                  <a:cubicBezTo>
                    <a:pt x="515" y="590"/>
                    <a:pt x="523" y="586"/>
                    <a:pt x="524" y="580"/>
                  </a:cubicBezTo>
                  <a:cubicBezTo>
                    <a:pt x="524" y="575"/>
                    <a:pt x="521" y="569"/>
                    <a:pt x="514" y="570"/>
                  </a:cubicBezTo>
                  <a:cubicBezTo>
                    <a:pt x="505" y="571"/>
                    <a:pt x="503" y="582"/>
                    <a:pt x="510" y="586"/>
                  </a:cubicBezTo>
                  <a:close/>
                  <a:moveTo>
                    <a:pt x="1045" y="272"/>
                  </a:moveTo>
                  <a:cubicBezTo>
                    <a:pt x="1044" y="274"/>
                    <a:pt x="1052" y="287"/>
                    <a:pt x="1053" y="287"/>
                  </a:cubicBezTo>
                  <a:cubicBezTo>
                    <a:pt x="1054" y="287"/>
                    <a:pt x="1053" y="284"/>
                    <a:pt x="1051" y="281"/>
                  </a:cubicBezTo>
                  <a:cubicBezTo>
                    <a:pt x="1049" y="277"/>
                    <a:pt x="1046" y="272"/>
                    <a:pt x="1045" y="272"/>
                  </a:cubicBezTo>
                  <a:close/>
                  <a:moveTo>
                    <a:pt x="490" y="413"/>
                  </a:moveTo>
                  <a:cubicBezTo>
                    <a:pt x="482" y="415"/>
                    <a:pt x="480" y="425"/>
                    <a:pt x="486" y="429"/>
                  </a:cubicBezTo>
                  <a:cubicBezTo>
                    <a:pt x="491" y="432"/>
                    <a:pt x="499" y="429"/>
                    <a:pt x="499" y="423"/>
                  </a:cubicBezTo>
                  <a:cubicBezTo>
                    <a:pt x="500" y="418"/>
                    <a:pt x="497" y="413"/>
                    <a:pt x="490" y="413"/>
                  </a:cubicBezTo>
                  <a:close/>
                  <a:moveTo>
                    <a:pt x="920" y="380"/>
                  </a:moveTo>
                  <a:cubicBezTo>
                    <a:pt x="920" y="376"/>
                    <a:pt x="916" y="371"/>
                    <a:pt x="912" y="371"/>
                  </a:cubicBezTo>
                  <a:cubicBezTo>
                    <a:pt x="905" y="372"/>
                    <a:pt x="907" y="383"/>
                    <a:pt x="912" y="387"/>
                  </a:cubicBezTo>
                  <a:cubicBezTo>
                    <a:pt x="917" y="389"/>
                    <a:pt x="921" y="386"/>
                    <a:pt x="920" y="380"/>
                  </a:cubicBezTo>
                  <a:close/>
                  <a:moveTo>
                    <a:pt x="906" y="401"/>
                  </a:moveTo>
                  <a:cubicBezTo>
                    <a:pt x="906" y="397"/>
                    <a:pt x="903" y="392"/>
                    <a:pt x="898" y="392"/>
                  </a:cubicBezTo>
                  <a:cubicBezTo>
                    <a:pt x="891" y="393"/>
                    <a:pt x="892" y="404"/>
                    <a:pt x="898" y="408"/>
                  </a:cubicBezTo>
                  <a:cubicBezTo>
                    <a:pt x="903" y="411"/>
                    <a:pt x="907" y="407"/>
                    <a:pt x="906" y="401"/>
                  </a:cubicBezTo>
                  <a:close/>
                  <a:moveTo>
                    <a:pt x="890" y="541"/>
                  </a:moveTo>
                  <a:cubicBezTo>
                    <a:pt x="894" y="544"/>
                    <a:pt x="899" y="540"/>
                    <a:pt x="900" y="534"/>
                  </a:cubicBezTo>
                  <a:cubicBezTo>
                    <a:pt x="900" y="529"/>
                    <a:pt x="898" y="524"/>
                    <a:pt x="892" y="524"/>
                  </a:cubicBezTo>
                  <a:cubicBezTo>
                    <a:pt x="885" y="525"/>
                    <a:pt x="885" y="537"/>
                    <a:pt x="890" y="541"/>
                  </a:cubicBezTo>
                  <a:close/>
                  <a:moveTo>
                    <a:pt x="510" y="563"/>
                  </a:moveTo>
                  <a:cubicBezTo>
                    <a:pt x="515" y="567"/>
                    <a:pt x="523" y="564"/>
                    <a:pt x="524" y="557"/>
                  </a:cubicBezTo>
                  <a:cubicBezTo>
                    <a:pt x="524" y="552"/>
                    <a:pt x="521" y="546"/>
                    <a:pt x="514" y="547"/>
                  </a:cubicBezTo>
                  <a:cubicBezTo>
                    <a:pt x="505" y="548"/>
                    <a:pt x="503" y="559"/>
                    <a:pt x="510" y="563"/>
                  </a:cubicBezTo>
                  <a:close/>
                  <a:moveTo>
                    <a:pt x="889" y="518"/>
                  </a:moveTo>
                  <a:cubicBezTo>
                    <a:pt x="894" y="521"/>
                    <a:pt x="899" y="517"/>
                    <a:pt x="899" y="511"/>
                  </a:cubicBezTo>
                  <a:cubicBezTo>
                    <a:pt x="899" y="507"/>
                    <a:pt x="897" y="501"/>
                    <a:pt x="891" y="501"/>
                  </a:cubicBezTo>
                  <a:cubicBezTo>
                    <a:pt x="884" y="503"/>
                    <a:pt x="884" y="514"/>
                    <a:pt x="889" y="518"/>
                  </a:cubicBezTo>
                  <a:close/>
                  <a:moveTo>
                    <a:pt x="930" y="325"/>
                  </a:moveTo>
                  <a:cubicBezTo>
                    <a:pt x="934" y="328"/>
                    <a:pt x="937" y="325"/>
                    <a:pt x="936" y="320"/>
                  </a:cubicBezTo>
                  <a:cubicBezTo>
                    <a:pt x="936" y="320"/>
                    <a:pt x="936" y="319"/>
                    <a:pt x="936" y="319"/>
                  </a:cubicBezTo>
                  <a:cubicBezTo>
                    <a:pt x="935" y="315"/>
                    <a:pt x="932" y="310"/>
                    <a:pt x="928" y="311"/>
                  </a:cubicBezTo>
                  <a:cubicBezTo>
                    <a:pt x="922" y="312"/>
                    <a:pt x="925" y="322"/>
                    <a:pt x="930" y="325"/>
                  </a:cubicBezTo>
                  <a:close/>
                  <a:moveTo>
                    <a:pt x="930" y="387"/>
                  </a:moveTo>
                  <a:cubicBezTo>
                    <a:pt x="934" y="389"/>
                    <a:pt x="938" y="386"/>
                    <a:pt x="937" y="380"/>
                  </a:cubicBezTo>
                  <a:cubicBezTo>
                    <a:pt x="936" y="376"/>
                    <a:pt x="933" y="371"/>
                    <a:pt x="929" y="371"/>
                  </a:cubicBezTo>
                  <a:cubicBezTo>
                    <a:pt x="923" y="372"/>
                    <a:pt x="925" y="383"/>
                    <a:pt x="930" y="387"/>
                  </a:cubicBezTo>
                  <a:close/>
                  <a:moveTo>
                    <a:pt x="946" y="387"/>
                  </a:moveTo>
                  <a:cubicBezTo>
                    <a:pt x="951" y="389"/>
                    <a:pt x="954" y="386"/>
                    <a:pt x="953" y="380"/>
                  </a:cubicBezTo>
                  <a:cubicBezTo>
                    <a:pt x="953" y="376"/>
                    <a:pt x="949" y="371"/>
                    <a:pt x="945" y="371"/>
                  </a:cubicBezTo>
                  <a:cubicBezTo>
                    <a:pt x="939" y="372"/>
                    <a:pt x="941" y="383"/>
                    <a:pt x="946" y="387"/>
                  </a:cubicBezTo>
                  <a:close/>
                  <a:moveTo>
                    <a:pt x="951" y="408"/>
                  </a:moveTo>
                  <a:cubicBezTo>
                    <a:pt x="955" y="410"/>
                    <a:pt x="959" y="407"/>
                    <a:pt x="958" y="401"/>
                  </a:cubicBezTo>
                  <a:cubicBezTo>
                    <a:pt x="957" y="397"/>
                    <a:pt x="954" y="392"/>
                    <a:pt x="950" y="392"/>
                  </a:cubicBezTo>
                  <a:cubicBezTo>
                    <a:pt x="944" y="393"/>
                    <a:pt x="946" y="405"/>
                    <a:pt x="951" y="408"/>
                  </a:cubicBezTo>
                  <a:close/>
                  <a:moveTo>
                    <a:pt x="934" y="408"/>
                  </a:moveTo>
                  <a:cubicBezTo>
                    <a:pt x="938" y="411"/>
                    <a:pt x="942" y="407"/>
                    <a:pt x="941" y="401"/>
                  </a:cubicBezTo>
                  <a:cubicBezTo>
                    <a:pt x="941" y="397"/>
                    <a:pt x="938" y="392"/>
                    <a:pt x="933" y="392"/>
                  </a:cubicBezTo>
                  <a:cubicBezTo>
                    <a:pt x="927" y="393"/>
                    <a:pt x="928" y="404"/>
                    <a:pt x="934" y="408"/>
                  </a:cubicBezTo>
                  <a:close/>
                  <a:moveTo>
                    <a:pt x="948" y="359"/>
                  </a:moveTo>
                  <a:cubicBezTo>
                    <a:pt x="947" y="356"/>
                    <a:pt x="944" y="350"/>
                    <a:pt x="940" y="351"/>
                  </a:cubicBezTo>
                  <a:cubicBezTo>
                    <a:pt x="934" y="352"/>
                    <a:pt x="936" y="362"/>
                    <a:pt x="942" y="366"/>
                  </a:cubicBezTo>
                  <a:cubicBezTo>
                    <a:pt x="946" y="369"/>
                    <a:pt x="949" y="365"/>
                    <a:pt x="948" y="359"/>
                  </a:cubicBezTo>
                  <a:close/>
                  <a:moveTo>
                    <a:pt x="890" y="564"/>
                  </a:moveTo>
                  <a:cubicBezTo>
                    <a:pt x="894" y="567"/>
                    <a:pt x="899" y="563"/>
                    <a:pt x="900" y="557"/>
                  </a:cubicBezTo>
                  <a:cubicBezTo>
                    <a:pt x="900" y="552"/>
                    <a:pt x="898" y="546"/>
                    <a:pt x="893" y="547"/>
                  </a:cubicBezTo>
                  <a:cubicBezTo>
                    <a:pt x="885" y="548"/>
                    <a:pt x="885" y="560"/>
                    <a:pt x="890" y="564"/>
                  </a:cubicBezTo>
                  <a:close/>
                  <a:moveTo>
                    <a:pt x="829" y="615"/>
                  </a:moveTo>
                  <a:cubicBezTo>
                    <a:pt x="821" y="617"/>
                    <a:pt x="820" y="628"/>
                    <a:pt x="825" y="632"/>
                  </a:cubicBezTo>
                  <a:cubicBezTo>
                    <a:pt x="830" y="635"/>
                    <a:pt x="835" y="631"/>
                    <a:pt x="836" y="625"/>
                  </a:cubicBezTo>
                  <a:cubicBezTo>
                    <a:pt x="837" y="620"/>
                    <a:pt x="835" y="615"/>
                    <a:pt x="829" y="615"/>
                  </a:cubicBezTo>
                  <a:close/>
                  <a:moveTo>
                    <a:pt x="491" y="392"/>
                  </a:moveTo>
                  <a:cubicBezTo>
                    <a:pt x="482" y="393"/>
                    <a:pt x="481" y="403"/>
                    <a:pt x="487" y="407"/>
                  </a:cubicBezTo>
                  <a:cubicBezTo>
                    <a:pt x="492" y="411"/>
                    <a:pt x="499" y="408"/>
                    <a:pt x="500" y="401"/>
                  </a:cubicBezTo>
                  <a:cubicBezTo>
                    <a:pt x="501" y="397"/>
                    <a:pt x="498" y="392"/>
                    <a:pt x="491" y="392"/>
                  </a:cubicBezTo>
                  <a:close/>
                  <a:moveTo>
                    <a:pt x="947" y="541"/>
                  </a:moveTo>
                  <a:cubicBezTo>
                    <a:pt x="951" y="544"/>
                    <a:pt x="955" y="540"/>
                    <a:pt x="955" y="534"/>
                  </a:cubicBezTo>
                  <a:cubicBezTo>
                    <a:pt x="955" y="529"/>
                    <a:pt x="953" y="524"/>
                    <a:pt x="948" y="524"/>
                  </a:cubicBezTo>
                  <a:cubicBezTo>
                    <a:pt x="941" y="525"/>
                    <a:pt x="942" y="538"/>
                    <a:pt x="947" y="541"/>
                  </a:cubicBezTo>
                  <a:close/>
                  <a:moveTo>
                    <a:pt x="492" y="371"/>
                  </a:moveTo>
                  <a:cubicBezTo>
                    <a:pt x="483" y="372"/>
                    <a:pt x="482" y="382"/>
                    <a:pt x="487" y="386"/>
                  </a:cubicBezTo>
                  <a:cubicBezTo>
                    <a:pt x="493" y="390"/>
                    <a:pt x="500" y="386"/>
                    <a:pt x="501" y="380"/>
                  </a:cubicBezTo>
                  <a:cubicBezTo>
                    <a:pt x="501" y="376"/>
                    <a:pt x="499" y="371"/>
                    <a:pt x="492" y="371"/>
                  </a:cubicBezTo>
                  <a:close/>
                  <a:moveTo>
                    <a:pt x="888" y="495"/>
                  </a:moveTo>
                  <a:cubicBezTo>
                    <a:pt x="893" y="498"/>
                    <a:pt x="898" y="495"/>
                    <a:pt x="898" y="489"/>
                  </a:cubicBezTo>
                  <a:cubicBezTo>
                    <a:pt x="898" y="484"/>
                    <a:pt x="895" y="478"/>
                    <a:pt x="890" y="479"/>
                  </a:cubicBezTo>
                  <a:cubicBezTo>
                    <a:pt x="883" y="480"/>
                    <a:pt x="883" y="492"/>
                    <a:pt x="888" y="495"/>
                  </a:cubicBezTo>
                  <a:close/>
                  <a:moveTo>
                    <a:pt x="495" y="311"/>
                  </a:moveTo>
                  <a:cubicBezTo>
                    <a:pt x="487" y="312"/>
                    <a:pt x="485" y="321"/>
                    <a:pt x="490" y="325"/>
                  </a:cubicBezTo>
                  <a:cubicBezTo>
                    <a:pt x="495" y="328"/>
                    <a:pt x="503" y="325"/>
                    <a:pt x="503" y="319"/>
                  </a:cubicBezTo>
                  <a:cubicBezTo>
                    <a:pt x="504" y="315"/>
                    <a:pt x="501" y="310"/>
                    <a:pt x="495" y="311"/>
                  </a:cubicBezTo>
                  <a:close/>
                  <a:moveTo>
                    <a:pt x="885" y="451"/>
                  </a:moveTo>
                  <a:cubicBezTo>
                    <a:pt x="889" y="454"/>
                    <a:pt x="894" y="450"/>
                    <a:pt x="894" y="444"/>
                  </a:cubicBezTo>
                  <a:cubicBezTo>
                    <a:pt x="894" y="440"/>
                    <a:pt x="891" y="434"/>
                    <a:pt x="886" y="435"/>
                  </a:cubicBezTo>
                  <a:cubicBezTo>
                    <a:pt x="879" y="436"/>
                    <a:pt x="879" y="447"/>
                    <a:pt x="885" y="451"/>
                  </a:cubicBezTo>
                  <a:close/>
                  <a:moveTo>
                    <a:pt x="887" y="473"/>
                  </a:moveTo>
                  <a:cubicBezTo>
                    <a:pt x="891" y="476"/>
                    <a:pt x="896" y="473"/>
                    <a:pt x="896" y="466"/>
                  </a:cubicBezTo>
                  <a:cubicBezTo>
                    <a:pt x="896" y="462"/>
                    <a:pt x="893" y="456"/>
                    <a:pt x="888" y="457"/>
                  </a:cubicBezTo>
                  <a:cubicBezTo>
                    <a:pt x="881" y="458"/>
                    <a:pt x="881" y="469"/>
                    <a:pt x="887" y="473"/>
                  </a:cubicBezTo>
                  <a:close/>
                  <a:moveTo>
                    <a:pt x="880" y="534"/>
                  </a:moveTo>
                  <a:cubicBezTo>
                    <a:pt x="880" y="529"/>
                    <a:pt x="878" y="524"/>
                    <a:pt x="872" y="524"/>
                  </a:cubicBezTo>
                  <a:cubicBezTo>
                    <a:pt x="865" y="525"/>
                    <a:pt x="864" y="537"/>
                    <a:pt x="870" y="541"/>
                  </a:cubicBezTo>
                  <a:cubicBezTo>
                    <a:pt x="874" y="544"/>
                    <a:pt x="880" y="540"/>
                    <a:pt x="880" y="534"/>
                  </a:cubicBezTo>
                  <a:close/>
                  <a:moveTo>
                    <a:pt x="882" y="429"/>
                  </a:moveTo>
                  <a:cubicBezTo>
                    <a:pt x="887" y="432"/>
                    <a:pt x="892" y="429"/>
                    <a:pt x="891" y="423"/>
                  </a:cubicBezTo>
                  <a:cubicBezTo>
                    <a:pt x="891" y="418"/>
                    <a:pt x="888" y="413"/>
                    <a:pt x="883" y="413"/>
                  </a:cubicBezTo>
                  <a:cubicBezTo>
                    <a:pt x="876" y="415"/>
                    <a:pt x="877" y="426"/>
                    <a:pt x="882" y="429"/>
                  </a:cubicBezTo>
                  <a:close/>
                  <a:moveTo>
                    <a:pt x="1034" y="291"/>
                  </a:moveTo>
                  <a:cubicBezTo>
                    <a:pt x="1031" y="293"/>
                    <a:pt x="1038" y="306"/>
                    <a:pt x="1041" y="307"/>
                  </a:cubicBezTo>
                  <a:cubicBezTo>
                    <a:pt x="1043" y="307"/>
                    <a:pt x="1042" y="304"/>
                    <a:pt x="1040" y="300"/>
                  </a:cubicBezTo>
                  <a:cubicBezTo>
                    <a:pt x="1039" y="296"/>
                    <a:pt x="1036" y="291"/>
                    <a:pt x="1034" y="291"/>
                  </a:cubicBezTo>
                  <a:close/>
                  <a:moveTo>
                    <a:pt x="643" y="547"/>
                  </a:moveTo>
                  <a:cubicBezTo>
                    <a:pt x="634" y="548"/>
                    <a:pt x="633" y="559"/>
                    <a:pt x="639" y="563"/>
                  </a:cubicBezTo>
                  <a:cubicBezTo>
                    <a:pt x="644" y="567"/>
                    <a:pt x="652" y="564"/>
                    <a:pt x="652" y="557"/>
                  </a:cubicBezTo>
                  <a:cubicBezTo>
                    <a:pt x="653" y="552"/>
                    <a:pt x="650" y="546"/>
                    <a:pt x="643" y="547"/>
                  </a:cubicBezTo>
                  <a:close/>
                  <a:moveTo>
                    <a:pt x="643" y="524"/>
                  </a:moveTo>
                  <a:cubicBezTo>
                    <a:pt x="634" y="525"/>
                    <a:pt x="633" y="536"/>
                    <a:pt x="639" y="540"/>
                  </a:cubicBezTo>
                  <a:cubicBezTo>
                    <a:pt x="644" y="544"/>
                    <a:pt x="652" y="541"/>
                    <a:pt x="652" y="534"/>
                  </a:cubicBezTo>
                  <a:cubicBezTo>
                    <a:pt x="653" y="529"/>
                    <a:pt x="650" y="524"/>
                    <a:pt x="643" y="524"/>
                  </a:cubicBezTo>
                  <a:close/>
                  <a:moveTo>
                    <a:pt x="700" y="324"/>
                  </a:moveTo>
                  <a:cubicBezTo>
                    <a:pt x="705" y="329"/>
                    <a:pt x="712" y="326"/>
                    <a:pt x="711" y="319"/>
                  </a:cubicBezTo>
                  <a:cubicBezTo>
                    <a:pt x="711" y="315"/>
                    <a:pt x="708" y="310"/>
                    <a:pt x="702" y="311"/>
                  </a:cubicBezTo>
                  <a:cubicBezTo>
                    <a:pt x="695" y="312"/>
                    <a:pt x="694" y="320"/>
                    <a:pt x="700" y="324"/>
                  </a:cubicBezTo>
                  <a:close/>
                  <a:moveTo>
                    <a:pt x="643" y="570"/>
                  </a:moveTo>
                  <a:cubicBezTo>
                    <a:pt x="634" y="571"/>
                    <a:pt x="633" y="582"/>
                    <a:pt x="639" y="586"/>
                  </a:cubicBezTo>
                  <a:cubicBezTo>
                    <a:pt x="644" y="590"/>
                    <a:pt x="652" y="586"/>
                    <a:pt x="652" y="580"/>
                  </a:cubicBezTo>
                  <a:cubicBezTo>
                    <a:pt x="653" y="575"/>
                    <a:pt x="650" y="569"/>
                    <a:pt x="643" y="570"/>
                  </a:cubicBezTo>
                  <a:close/>
                  <a:moveTo>
                    <a:pt x="643" y="593"/>
                  </a:moveTo>
                  <a:cubicBezTo>
                    <a:pt x="634" y="594"/>
                    <a:pt x="632" y="605"/>
                    <a:pt x="638" y="609"/>
                  </a:cubicBezTo>
                  <a:cubicBezTo>
                    <a:pt x="644" y="613"/>
                    <a:pt x="651" y="609"/>
                    <a:pt x="652" y="602"/>
                  </a:cubicBezTo>
                  <a:cubicBezTo>
                    <a:pt x="653" y="598"/>
                    <a:pt x="650" y="592"/>
                    <a:pt x="643" y="593"/>
                  </a:cubicBezTo>
                  <a:close/>
                  <a:moveTo>
                    <a:pt x="642" y="479"/>
                  </a:moveTo>
                  <a:cubicBezTo>
                    <a:pt x="633" y="480"/>
                    <a:pt x="632" y="491"/>
                    <a:pt x="639" y="495"/>
                  </a:cubicBezTo>
                  <a:cubicBezTo>
                    <a:pt x="644" y="499"/>
                    <a:pt x="651" y="495"/>
                    <a:pt x="652" y="489"/>
                  </a:cubicBezTo>
                  <a:cubicBezTo>
                    <a:pt x="652" y="484"/>
                    <a:pt x="649" y="478"/>
                    <a:pt x="642" y="479"/>
                  </a:cubicBezTo>
                  <a:close/>
                  <a:moveTo>
                    <a:pt x="642" y="615"/>
                  </a:moveTo>
                  <a:cubicBezTo>
                    <a:pt x="634" y="616"/>
                    <a:pt x="632" y="627"/>
                    <a:pt x="638" y="631"/>
                  </a:cubicBezTo>
                  <a:cubicBezTo>
                    <a:pt x="643" y="635"/>
                    <a:pt x="651" y="631"/>
                    <a:pt x="652" y="625"/>
                  </a:cubicBezTo>
                  <a:cubicBezTo>
                    <a:pt x="652" y="621"/>
                    <a:pt x="650" y="615"/>
                    <a:pt x="642" y="615"/>
                  </a:cubicBezTo>
                  <a:close/>
                  <a:moveTo>
                    <a:pt x="712" y="413"/>
                  </a:moveTo>
                  <a:cubicBezTo>
                    <a:pt x="704" y="415"/>
                    <a:pt x="703" y="425"/>
                    <a:pt x="709" y="429"/>
                  </a:cubicBezTo>
                  <a:cubicBezTo>
                    <a:pt x="715" y="432"/>
                    <a:pt x="721" y="429"/>
                    <a:pt x="722" y="423"/>
                  </a:cubicBezTo>
                  <a:cubicBezTo>
                    <a:pt x="722" y="419"/>
                    <a:pt x="719" y="413"/>
                    <a:pt x="712" y="413"/>
                  </a:cubicBezTo>
                  <a:close/>
                  <a:moveTo>
                    <a:pt x="642" y="457"/>
                  </a:moveTo>
                  <a:cubicBezTo>
                    <a:pt x="633" y="458"/>
                    <a:pt x="632" y="468"/>
                    <a:pt x="638" y="473"/>
                  </a:cubicBezTo>
                  <a:cubicBezTo>
                    <a:pt x="644" y="476"/>
                    <a:pt x="651" y="473"/>
                    <a:pt x="651" y="466"/>
                  </a:cubicBezTo>
                  <a:cubicBezTo>
                    <a:pt x="652" y="462"/>
                    <a:pt x="649" y="456"/>
                    <a:pt x="642" y="457"/>
                  </a:cubicBezTo>
                  <a:close/>
                  <a:moveTo>
                    <a:pt x="643" y="501"/>
                  </a:moveTo>
                  <a:cubicBezTo>
                    <a:pt x="634" y="503"/>
                    <a:pt x="633" y="513"/>
                    <a:pt x="639" y="518"/>
                  </a:cubicBezTo>
                  <a:cubicBezTo>
                    <a:pt x="644" y="521"/>
                    <a:pt x="652" y="518"/>
                    <a:pt x="652" y="511"/>
                  </a:cubicBezTo>
                  <a:cubicBezTo>
                    <a:pt x="653" y="507"/>
                    <a:pt x="650" y="501"/>
                    <a:pt x="643" y="501"/>
                  </a:cubicBezTo>
                  <a:close/>
                  <a:moveTo>
                    <a:pt x="785" y="325"/>
                  </a:moveTo>
                  <a:cubicBezTo>
                    <a:pt x="790" y="328"/>
                    <a:pt x="795" y="325"/>
                    <a:pt x="795" y="319"/>
                  </a:cubicBezTo>
                  <a:cubicBezTo>
                    <a:pt x="794" y="315"/>
                    <a:pt x="791" y="310"/>
                    <a:pt x="785" y="311"/>
                  </a:cubicBezTo>
                  <a:cubicBezTo>
                    <a:pt x="779" y="312"/>
                    <a:pt x="779" y="321"/>
                    <a:pt x="785" y="325"/>
                  </a:cubicBezTo>
                  <a:close/>
                  <a:moveTo>
                    <a:pt x="775" y="319"/>
                  </a:moveTo>
                  <a:cubicBezTo>
                    <a:pt x="774" y="315"/>
                    <a:pt x="771" y="310"/>
                    <a:pt x="765" y="311"/>
                  </a:cubicBezTo>
                  <a:cubicBezTo>
                    <a:pt x="758" y="312"/>
                    <a:pt x="759" y="321"/>
                    <a:pt x="764" y="325"/>
                  </a:cubicBezTo>
                  <a:cubicBezTo>
                    <a:pt x="770" y="328"/>
                    <a:pt x="775" y="325"/>
                    <a:pt x="775" y="319"/>
                  </a:cubicBezTo>
                  <a:close/>
                  <a:moveTo>
                    <a:pt x="743" y="324"/>
                  </a:moveTo>
                  <a:cubicBezTo>
                    <a:pt x="748" y="329"/>
                    <a:pt x="754" y="326"/>
                    <a:pt x="754" y="319"/>
                  </a:cubicBezTo>
                  <a:cubicBezTo>
                    <a:pt x="754" y="315"/>
                    <a:pt x="750" y="310"/>
                    <a:pt x="745" y="311"/>
                  </a:cubicBezTo>
                  <a:cubicBezTo>
                    <a:pt x="738" y="312"/>
                    <a:pt x="738" y="320"/>
                    <a:pt x="743" y="324"/>
                  </a:cubicBezTo>
                  <a:close/>
                  <a:moveTo>
                    <a:pt x="757" y="339"/>
                  </a:moveTo>
                  <a:cubicBezTo>
                    <a:pt x="757" y="335"/>
                    <a:pt x="754" y="330"/>
                    <a:pt x="748" y="330"/>
                  </a:cubicBezTo>
                  <a:cubicBezTo>
                    <a:pt x="740" y="332"/>
                    <a:pt x="741" y="341"/>
                    <a:pt x="746" y="345"/>
                  </a:cubicBezTo>
                  <a:cubicBezTo>
                    <a:pt x="752" y="348"/>
                    <a:pt x="757" y="345"/>
                    <a:pt x="757" y="339"/>
                  </a:cubicBezTo>
                  <a:close/>
                  <a:moveTo>
                    <a:pt x="713" y="435"/>
                  </a:moveTo>
                  <a:cubicBezTo>
                    <a:pt x="705" y="436"/>
                    <a:pt x="704" y="446"/>
                    <a:pt x="710" y="451"/>
                  </a:cubicBezTo>
                  <a:cubicBezTo>
                    <a:pt x="716" y="454"/>
                    <a:pt x="723" y="451"/>
                    <a:pt x="723" y="444"/>
                  </a:cubicBezTo>
                  <a:cubicBezTo>
                    <a:pt x="723" y="440"/>
                    <a:pt x="720" y="434"/>
                    <a:pt x="713" y="435"/>
                  </a:cubicBezTo>
                  <a:close/>
                  <a:moveTo>
                    <a:pt x="715" y="479"/>
                  </a:moveTo>
                  <a:cubicBezTo>
                    <a:pt x="707" y="480"/>
                    <a:pt x="706" y="491"/>
                    <a:pt x="712" y="495"/>
                  </a:cubicBezTo>
                  <a:cubicBezTo>
                    <a:pt x="717" y="499"/>
                    <a:pt x="724" y="495"/>
                    <a:pt x="725" y="489"/>
                  </a:cubicBezTo>
                  <a:cubicBezTo>
                    <a:pt x="725" y="484"/>
                    <a:pt x="722" y="478"/>
                    <a:pt x="715" y="479"/>
                  </a:cubicBezTo>
                  <a:close/>
                  <a:moveTo>
                    <a:pt x="740" y="547"/>
                  </a:moveTo>
                  <a:cubicBezTo>
                    <a:pt x="732" y="548"/>
                    <a:pt x="731" y="559"/>
                    <a:pt x="737" y="563"/>
                  </a:cubicBezTo>
                  <a:cubicBezTo>
                    <a:pt x="742" y="567"/>
                    <a:pt x="749" y="564"/>
                    <a:pt x="749" y="557"/>
                  </a:cubicBezTo>
                  <a:cubicBezTo>
                    <a:pt x="750" y="552"/>
                    <a:pt x="747" y="546"/>
                    <a:pt x="740" y="547"/>
                  </a:cubicBezTo>
                  <a:close/>
                  <a:moveTo>
                    <a:pt x="716" y="524"/>
                  </a:moveTo>
                  <a:cubicBezTo>
                    <a:pt x="708" y="525"/>
                    <a:pt x="707" y="536"/>
                    <a:pt x="713" y="540"/>
                  </a:cubicBezTo>
                  <a:cubicBezTo>
                    <a:pt x="718" y="544"/>
                    <a:pt x="725" y="541"/>
                    <a:pt x="726" y="534"/>
                  </a:cubicBezTo>
                  <a:cubicBezTo>
                    <a:pt x="726" y="529"/>
                    <a:pt x="723" y="524"/>
                    <a:pt x="716" y="524"/>
                  </a:cubicBezTo>
                  <a:close/>
                  <a:moveTo>
                    <a:pt x="716" y="501"/>
                  </a:moveTo>
                  <a:cubicBezTo>
                    <a:pt x="708" y="503"/>
                    <a:pt x="707" y="513"/>
                    <a:pt x="713" y="518"/>
                  </a:cubicBezTo>
                  <a:cubicBezTo>
                    <a:pt x="718" y="521"/>
                    <a:pt x="725" y="518"/>
                    <a:pt x="725" y="511"/>
                  </a:cubicBezTo>
                  <a:cubicBezTo>
                    <a:pt x="726" y="507"/>
                    <a:pt x="723" y="501"/>
                    <a:pt x="716" y="501"/>
                  </a:cubicBezTo>
                  <a:close/>
                  <a:moveTo>
                    <a:pt x="715" y="457"/>
                  </a:moveTo>
                  <a:cubicBezTo>
                    <a:pt x="706" y="458"/>
                    <a:pt x="705" y="468"/>
                    <a:pt x="711" y="473"/>
                  </a:cubicBezTo>
                  <a:cubicBezTo>
                    <a:pt x="717" y="476"/>
                    <a:pt x="724" y="473"/>
                    <a:pt x="724" y="466"/>
                  </a:cubicBezTo>
                  <a:cubicBezTo>
                    <a:pt x="724" y="462"/>
                    <a:pt x="721" y="456"/>
                    <a:pt x="715" y="457"/>
                  </a:cubicBezTo>
                  <a:close/>
                  <a:moveTo>
                    <a:pt x="692" y="501"/>
                  </a:moveTo>
                  <a:cubicBezTo>
                    <a:pt x="683" y="503"/>
                    <a:pt x="682" y="513"/>
                    <a:pt x="688" y="518"/>
                  </a:cubicBezTo>
                  <a:cubicBezTo>
                    <a:pt x="694" y="521"/>
                    <a:pt x="701" y="518"/>
                    <a:pt x="701" y="511"/>
                  </a:cubicBezTo>
                  <a:cubicBezTo>
                    <a:pt x="702" y="507"/>
                    <a:pt x="699" y="501"/>
                    <a:pt x="692" y="501"/>
                  </a:cubicBezTo>
                  <a:close/>
                  <a:moveTo>
                    <a:pt x="692" y="524"/>
                  </a:moveTo>
                  <a:cubicBezTo>
                    <a:pt x="684" y="525"/>
                    <a:pt x="682" y="536"/>
                    <a:pt x="689" y="540"/>
                  </a:cubicBezTo>
                  <a:cubicBezTo>
                    <a:pt x="694" y="544"/>
                    <a:pt x="701" y="541"/>
                    <a:pt x="702" y="534"/>
                  </a:cubicBezTo>
                  <a:cubicBezTo>
                    <a:pt x="702" y="529"/>
                    <a:pt x="699" y="524"/>
                    <a:pt x="692" y="524"/>
                  </a:cubicBezTo>
                  <a:close/>
                  <a:moveTo>
                    <a:pt x="687" y="473"/>
                  </a:moveTo>
                  <a:cubicBezTo>
                    <a:pt x="693" y="476"/>
                    <a:pt x="700" y="473"/>
                    <a:pt x="700" y="466"/>
                  </a:cubicBezTo>
                  <a:cubicBezTo>
                    <a:pt x="700" y="462"/>
                    <a:pt x="698" y="456"/>
                    <a:pt x="691" y="457"/>
                  </a:cubicBezTo>
                  <a:cubicBezTo>
                    <a:pt x="682" y="458"/>
                    <a:pt x="681" y="468"/>
                    <a:pt x="687" y="473"/>
                  </a:cubicBezTo>
                  <a:close/>
                  <a:moveTo>
                    <a:pt x="687" y="451"/>
                  </a:moveTo>
                  <a:cubicBezTo>
                    <a:pt x="692" y="454"/>
                    <a:pt x="699" y="451"/>
                    <a:pt x="699" y="444"/>
                  </a:cubicBezTo>
                  <a:cubicBezTo>
                    <a:pt x="699" y="440"/>
                    <a:pt x="697" y="434"/>
                    <a:pt x="690" y="435"/>
                  </a:cubicBezTo>
                  <a:cubicBezTo>
                    <a:pt x="681" y="436"/>
                    <a:pt x="681" y="446"/>
                    <a:pt x="687" y="451"/>
                  </a:cubicBezTo>
                  <a:close/>
                  <a:moveTo>
                    <a:pt x="687" y="631"/>
                  </a:moveTo>
                  <a:cubicBezTo>
                    <a:pt x="692" y="635"/>
                    <a:pt x="700" y="631"/>
                    <a:pt x="700" y="625"/>
                  </a:cubicBezTo>
                  <a:cubicBezTo>
                    <a:pt x="701" y="620"/>
                    <a:pt x="698" y="615"/>
                    <a:pt x="692" y="615"/>
                  </a:cubicBezTo>
                  <a:cubicBezTo>
                    <a:pt x="683" y="616"/>
                    <a:pt x="681" y="627"/>
                    <a:pt x="687" y="631"/>
                  </a:cubicBezTo>
                  <a:close/>
                  <a:moveTo>
                    <a:pt x="692" y="593"/>
                  </a:moveTo>
                  <a:cubicBezTo>
                    <a:pt x="683" y="594"/>
                    <a:pt x="682" y="605"/>
                    <a:pt x="688" y="609"/>
                  </a:cubicBezTo>
                  <a:cubicBezTo>
                    <a:pt x="693" y="613"/>
                    <a:pt x="700" y="609"/>
                    <a:pt x="701" y="602"/>
                  </a:cubicBezTo>
                  <a:cubicBezTo>
                    <a:pt x="702" y="598"/>
                    <a:pt x="699" y="592"/>
                    <a:pt x="692" y="593"/>
                  </a:cubicBezTo>
                  <a:close/>
                  <a:moveTo>
                    <a:pt x="692" y="570"/>
                  </a:moveTo>
                  <a:cubicBezTo>
                    <a:pt x="684" y="571"/>
                    <a:pt x="682" y="582"/>
                    <a:pt x="688" y="586"/>
                  </a:cubicBezTo>
                  <a:cubicBezTo>
                    <a:pt x="694" y="590"/>
                    <a:pt x="701" y="586"/>
                    <a:pt x="702" y="580"/>
                  </a:cubicBezTo>
                  <a:cubicBezTo>
                    <a:pt x="702" y="575"/>
                    <a:pt x="699" y="569"/>
                    <a:pt x="692" y="570"/>
                  </a:cubicBezTo>
                  <a:close/>
                  <a:moveTo>
                    <a:pt x="691" y="479"/>
                  </a:moveTo>
                  <a:cubicBezTo>
                    <a:pt x="683" y="480"/>
                    <a:pt x="682" y="491"/>
                    <a:pt x="688" y="495"/>
                  </a:cubicBezTo>
                  <a:cubicBezTo>
                    <a:pt x="693" y="499"/>
                    <a:pt x="700" y="495"/>
                    <a:pt x="701" y="489"/>
                  </a:cubicBezTo>
                  <a:cubicBezTo>
                    <a:pt x="701" y="484"/>
                    <a:pt x="698" y="478"/>
                    <a:pt x="691" y="479"/>
                  </a:cubicBezTo>
                  <a:close/>
                  <a:moveTo>
                    <a:pt x="689" y="319"/>
                  </a:moveTo>
                  <a:cubicBezTo>
                    <a:pt x="689" y="316"/>
                    <a:pt x="686" y="310"/>
                    <a:pt x="680" y="311"/>
                  </a:cubicBezTo>
                  <a:cubicBezTo>
                    <a:pt x="673" y="312"/>
                    <a:pt x="672" y="320"/>
                    <a:pt x="677" y="324"/>
                  </a:cubicBezTo>
                  <a:cubicBezTo>
                    <a:pt x="682" y="328"/>
                    <a:pt x="689" y="325"/>
                    <a:pt x="689" y="319"/>
                  </a:cubicBezTo>
                  <a:close/>
                  <a:moveTo>
                    <a:pt x="666" y="457"/>
                  </a:moveTo>
                  <a:cubicBezTo>
                    <a:pt x="658" y="458"/>
                    <a:pt x="657" y="468"/>
                    <a:pt x="663" y="473"/>
                  </a:cubicBezTo>
                  <a:cubicBezTo>
                    <a:pt x="668" y="476"/>
                    <a:pt x="676" y="473"/>
                    <a:pt x="676" y="466"/>
                  </a:cubicBezTo>
                  <a:cubicBezTo>
                    <a:pt x="676" y="462"/>
                    <a:pt x="673" y="456"/>
                    <a:pt x="666" y="457"/>
                  </a:cubicBezTo>
                  <a:close/>
                  <a:moveTo>
                    <a:pt x="662" y="451"/>
                  </a:moveTo>
                  <a:cubicBezTo>
                    <a:pt x="668" y="454"/>
                    <a:pt x="675" y="451"/>
                    <a:pt x="675" y="444"/>
                  </a:cubicBezTo>
                  <a:cubicBezTo>
                    <a:pt x="675" y="440"/>
                    <a:pt x="672" y="434"/>
                    <a:pt x="666" y="435"/>
                  </a:cubicBezTo>
                  <a:cubicBezTo>
                    <a:pt x="657" y="436"/>
                    <a:pt x="656" y="446"/>
                    <a:pt x="662" y="451"/>
                  </a:cubicBezTo>
                  <a:close/>
                  <a:moveTo>
                    <a:pt x="668" y="524"/>
                  </a:moveTo>
                  <a:cubicBezTo>
                    <a:pt x="659" y="525"/>
                    <a:pt x="658" y="536"/>
                    <a:pt x="664" y="540"/>
                  </a:cubicBezTo>
                  <a:cubicBezTo>
                    <a:pt x="669" y="544"/>
                    <a:pt x="677" y="541"/>
                    <a:pt x="677" y="534"/>
                  </a:cubicBezTo>
                  <a:cubicBezTo>
                    <a:pt x="678" y="529"/>
                    <a:pt x="675" y="524"/>
                    <a:pt x="668" y="524"/>
                  </a:cubicBezTo>
                  <a:close/>
                  <a:moveTo>
                    <a:pt x="667" y="479"/>
                  </a:moveTo>
                  <a:cubicBezTo>
                    <a:pt x="658" y="480"/>
                    <a:pt x="657" y="491"/>
                    <a:pt x="663" y="495"/>
                  </a:cubicBezTo>
                  <a:cubicBezTo>
                    <a:pt x="669" y="499"/>
                    <a:pt x="676" y="495"/>
                    <a:pt x="677" y="489"/>
                  </a:cubicBezTo>
                  <a:cubicBezTo>
                    <a:pt x="677" y="484"/>
                    <a:pt x="674" y="478"/>
                    <a:pt x="667" y="479"/>
                  </a:cubicBezTo>
                  <a:close/>
                  <a:moveTo>
                    <a:pt x="667" y="501"/>
                  </a:moveTo>
                  <a:cubicBezTo>
                    <a:pt x="659" y="503"/>
                    <a:pt x="658" y="513"/>
                    <a:pt x="664" y="518"/>
                  </a:cubicBezTo>
                  <a:cubicBezTo>
                    <a:pt x="669" y="521"/>
                    <a:pt x="676" y="518"/>
                    <a:pt x="677" y="511"/>
                  </a:cubicBezTo>
                  <a:cubicBezTo>
                    <a:pt x="677" y="507"/>
                    <a:pt x="674" y="501"/>
                    <a:pt x="667" y="501"/>
                  </a:cubicBezTo>
                  <a:close/>
                  <a:moveTo>
                    <a:pt x="668" y="547"/>
                  </a:moveTo>
                  <a:cubicBezTo>
                    <a:pt x="659" y="548"/>
                    <a:pt x="658" y="559"/>
                    <a:pt x="664" y="563"/>
                  </a:cubicBezTo>
                  <a:cubicBezTo>
                    <a:pt x="669" y="567"/>
                    <a:pt x="677" y="564"/>
                    <a:pt x="677" y="557"/>
                  </a:cubicBezTo>
                  <a:cubicBezTo>
                    <a:pt x="678" y="552"/>
                    <a:pt x="675" y="546"/>
                    <a:pt x="668" y="547"/>
                  </a:cubicBezTo>
                  <a:close/>
                  <a:moveTo>
                    <a:pt x="668" y="570"/>
                  </a:moveTo>
                  <a:cubicBezTo>
                    <a:pt x="659" y="571"/>
                    <a:pt x="658" y="582"/>
                    <a:pt x="664" y="586"/>
                  </a:cubicBezTo>
                  <a:cubicBezTo>
                    <a:pt x="669" y="590"/>
                    <a:pt x="676" y="586"/>
                    <a:pt x="677" y="580"/>
                  </a:cubicBezTo>
                  <a:cubicBezTo>
                    <a:pt x="678" y="575"/>
                    <a:pt x="675" y="569"/>
                    <a:pt x="668" y="570"/>
                  </a:cubicBezTo>
                  <a:close/>
                  <a:moveTo>
                    <a:pt x="668" y="593"/>
                  </a:moveTo>
                  <a:cubicBezTo>
                    <a:pt x="659" y="594"/>
                    <a:pt x="657" y="605"/>
                    <a:pt x="663" y="609"/>
                  </a:cubicBezTo>
                  <a:cubicBezTo>
                    <a:pt x="669" y="613"/>
                    <a:pt x="676" y="609"/>
                    <a:pt x="677" y="602"/>
                  </a:cubicBezTo>
                  <a:cubicBezTo>
                    <a:pt x="677" y="598"/>
                    <a:pt x="674" y="592"/>
                    <a:pt x="668" y="593"/>
                  </a:cubicBezTo>
                  <a:close/>
                  <a:moveTo>
                    <a:pt x="667" y="615"/>
                  </a:moveTo>
                  <a:cubicBezTo>
                    <a:pt x="658" y="616"/>
                    <a:pt x="657" y="627"/>
                    <a:pt x="663" y="631"/>
                  </a:cubicBezTo>
                  <a:cubicBezTo>
                    <a:pt x="668" y="635"/>
                    <a:pt x="675" y="631"/>
                    <a:pt x="676" y="625"/>
                  </a:cubicBezTo>
                  <a:cubicBezTo>
                    <a:pt x="677" y="620"/>
                    <a:pt x="674" y="615"/>
                    <a:pt x="667" y="615"/>
                  </a:cubicBezTo>
                  <a:close/>
                  <a:moveTo>
                    <a:pt x="759" y="435"/>
                  </a:moveTo>
                  <a:cubicBezTo>
                    <a:pt x="752" y="436"/>
                    <a:pt x="751" y="446"/>
                    <a:pt x="757" y="451"/>
                  </a:cubicBezTo>
                  <a:cubicBezTo>
                    <a:pt x="762" y="454"/>
                    <a:pt x="769" y="451"/>
                    <a:pt x="769" y="444"/>
                  </a:cubicBezTo>
                  <a:cubicBezTo>
                    <a:pt x="769" y="440"/>
                    <a:pt x="766" y="434"/>
                    <a:pt x="759" y="435"/>
                  </a:cubicBezTo>
                  <a:close/>
                  <a:moveTo>
                    <a:pt x="617" y="501"/>
                  </a:moveTo>
                  <a:cubicBezTo>
                    <a:pt x="608" y="503"/>
                    <a:pt x="607" y="513"/>
                    <a:pt x="613" y="518"/>
                  </a:cubicBezTo>
                  <a:cubicBezTo>
                    <a:pt x="619" y="521"/>
                    <a:pt x="626" y="518"/>
                    <a:pt x="627" y="511"/>
                  </a:cubicBezTo>
                  <a:cubicBezTo>
                    <a:pt x="627" y="507"/>
                    <a:pt x="625" y="501"/>
                    <a:pt x="617" y="501"/>
                  </a:cubicBezTo>
                  <a:close/>
                  <a:moveTo>
                    <a:pt x="617" y="593"/>
                  </a:moveTo>
                  <a:cubicBezTo>
                    <a:pt x="608" y="594"/>
                    <a:pt x="607" y="605"/>
                    <a:pt x="613" y="609"/>
                  </a:cubicBezTo>
                  <a:cubicBezTo>
                    <a:pt x="619" y="613"/>
                    <a:pt x="626" y="609"/>
                    <a:pt x="627" y="602"/>
                  </a:cubicBezTo>
                  <a:cubicBezTo>
                    <a:pt x="627" y="598"/>
                    <a:pt x="625" y="592"/>
                    <a:pt x="617" y="593"/>
                  </a:cubicBezTo>
                  <a:close/>
                  <a:moveTo>
                    <a:pt x="1026" y="291"/>
                  </a:moveTo>
                  <a:cubicBezTo>
                    <a:pt x="1023" y="293"/>
                    <a:pt x="1030" y="306"/>
                    <a:pt x="1033" y="307"/>
                  </a:cubicBezTo>
                  <a:cubicBezTo>
                    <a:pt x="1035" y="307"/>
                    <a:pt x="1035" y="304"/>
                    <a:pt x="1033" y="300"/>
                  </a:cubicBezTo>
                  <a:cubicBezTo>
                    <a:pt x="1032" y="296"/>
                    <a:pt x="1028" y="291"/>
                    <a:pt x="1026" y="291"/>
                  </a:cubicBezTo>
                  <a:close/>
                  <a:moveTo>
                    <a:pt x="617" y="570"/>
                  </a:moveTo>
                  <a:cubicBezTo>
                    <a:pt x="609" y="571"/>
                    <a:pt x="607" y="582"/>
                    <a:pt x="613" y="586"/>
                  </a:cubicBezTo>
                  <a:cubicBezTo>
                    <a:pt x="619" y="590"/>
                    <a:pt x="626" y="586"/>
                    <a:pt x="627" y="580"/>
                  </a:cubicBezTo>
                  <a:cubicBezTo>
                    <a:pt x="628" y="575"/>
                    <a:pt x="625" y="569"/>
                    <a:pt x="617" y="570"/>
                  </a:cubicBezTo>
                  <a:close/>
                  <a:moveTo>
                    <a:pt x="617" y="524"/>
                  </a:moveTo>
                  <a:cubicBezTo>
                    <a:pt x="609" y="525"/>
                    <a:pt x="607" y="536"/>
                    <a:pt x="613" y="540"/>
                  </a:cubicBezTo>
                  <a:cubicBezTo>
                    <a:pt x="619" y="544"/>
                    <a:pt x="627" y="541"/>
                    <a:pt x="627" y="534"/>
                  </a:cubicBezTo>
                  <a:cubicBezTo>
                    <a:pt x="628" y="529"/>
                    <a:pt x="624" y="524"/>
                    <a:pt x="617" y="524"/>
                  </a:cubicBezTo>
                  <a:close/>
                  <a:moveTo>
                    <a:pt x="616" y="435"/>
                  </a:moveTo>
                  <a:cubicBezTo>
                    <a:pt x="608" y="436"/>
                    <a:pt x="606" y="446"/>
                    <a:pt x="613" y="451"/>
                  </a:cubicBezTo>
                  <a:cubicBezTo>
                    <a:pt x="618" y="454"/>
                    <a:pt x="626" y="451"/>
                    <a:pt x="626" y="444"/>
                  </a:cubicBezTo>
                  <a:cubicBezTo>
                    <a:pt x="626" y="440"/>
                    <a:pt x="624" y="434"/>
                    <a:pt x="616" y="435"/>
                  </a:cubicBezTo>
                  <a:close/>
                  <a:moveTo>
                    <a:pt x="740" y="570"/>
                  </a:moveTo>
                  <a:cubicBezTo>
                    <a:pt x="732" y="571"/>
                    <a:pt x="731" y="582"/>
                    <a:pt x="736" y="586"/>
                  </a:cubicBezTo>
                  <a:cubicBezTo>
                    <a:pt x="741" y="590"/>
                    <a:pt x="748" y="586"/>
                    <a:pt x="749" y="580"/>
                  </a:cubicBezTo>
                  <a:cubicBezTo>
                    <a:pt x="750" y="575"/>
                    <a:pt x="747" y="569"/>
                    <a:pt x="740" y="570"/>
                  </a:cubicBezTo>
                  <a:close/>
                  <a:moveTo>
                    <a:pt x="617" y="457"/>
                  </a:moveTo>
                  <a:cubicBezTo>
                    <a:pt x="608" y="458"/>
                    <a:pt x="607" y="468"/>
                    <a:pt x="613" y="473"/>
                  </a:cubicBezTo>
                  <a:cubicBezTo>
                    <a:pt x="619" y="476"/>
                    <a:pt x="626" y="473"/>
                    <a:pt x="626" y="466"/>
                  </a:cubicBezTo>
                  <a:cubicBezTo>
                    <a:pt x="627" y="462"/>
                    <a:pt x="624" y="456"/>
                    <a:pt x="617" y="457"/>
                  </a:cubicBezTo>
                  <a:close/>
                  <a:moveTo>
                    <a:pt x="617" y="479"/>
                  </a:moveTo>
                  <a:cubicBezTo>
                    <a:pt x="608" y="480"/>
                    <a:pt x="607" y="491"/>
                    <a:pt x="613" y="495"/>
                  </a:cubicBezTo>
                  <a:cubicBezTo>
                    <a:pt x="619" y="499"/>
                    <a:pt x="626" y="495"/>
                    <a:pt x="627" y="489"/>
                  </a:cubicBezTo>
                  <a:cubicBezTo>
                    <a:pt x="627" y="484"/>
                    <a:pt x="624" y="478"/>
                    <a:pt x="617" y="479"/>
                  </a:cubicBezTo>
                  <a:close/>
                  <a:moveTo>
                    <a:pt x="618" y="547"/>
                  </a:moveTo>
                  <a:cubicBezTo>
                    <a:pt x="609" y="548"/>
                    <a:pt x="607" y="559"/>
                    <a:pt x="613" y="563"/>
                  </a:cubicBezTo>
                  <a:cubicBezTo>
                    <a:pt x="619" y="567"/>
                    <a:pt x="627" y="564"/>
                    <a:pt x="627" y="557"/>
                  </a:cubicBezTo>
                  <a:cubicBezTo>
                    <a:pt x="628" y="552"/>
                    <a:pt x="625" y="546"/>
                    <a:pt x="618" y="547"/>
                  </a:cubicBezTo>
                  <a:close/>
                  <a:moveTo>
                    <a:pt x="912" y="524"/>
                  </a:moveTo>
                  <a:cubicBezTo>
                    <a:pt x="904" y="525"/>
                    <a:pt x="904" y="538"/>
                    <a:pt x="910" y="541"/>
                  </a:cubicBezTo>
                  <a:cubicBezTo>
                    <a:pt x="914" y="544"/>
                    <a:pt x="919" y="540"/>
                    <a:pt x="919" y="534"/>
                  </a:cubicBezTo>
                  <a:cubicBezTo>
                    <a:pt x="919" y="529"/>
                    <a:pt x="917" y="524"/>
                    <a:pt x="912" y="524"/>
                  </a:cubicBezTo>
                  <a:close/>
                  <a:moveTo>
                    <a:pt x="907" y="457"/>
                  </a:moveTo>
                  <a:cubicBezTo>
                    <a:pt x="900" y="458"/>
                    <a:pt x="901" y="469"/>
                    <a:pt x="906" y="473"/>
                  </a:cubicBezTo>
                  <a:cubicBezTo>
                    <a:pt x="911" y="476"/>
                    <a:pt x="915" y="473"/>
                    <a:pt x="915" y="466"/>
                  </a:cubicBezTo>
                  <a:cubicBezTo>
                    <a:pt x="915" y="462"/>
                    <a:pt x="912" y="456"/>
                    <a:pt x="907" y="457"/>
                  </a:cubicBezTo>
                  <a:close/>
                  <a:moveTo>
                    <a:pt x="617" y="615"/>
                  </a:moveTo>
                  <a:cubicBezTo>
                    <a:pt x="608" y="616"/>
                    <a:pt x="607" y="627"/>
                    <a:pt x="613" y="631"/>
                  </a:cubicBezTo>
                  <a:cubicBezTo>
                    <a:pt x="618" y="635"/>
                    <a:pt x="626" y="631"/>
                    <a:pt x="627" y="625"/>
                  </a:cubicBezTo>
                  <a:cubicBezTo>
                    <a:pt x="627" y="621"/>
                    <a:pt x="624" y="615"/>
                    <a:pt x="617" y="615"/>
                  </a:cubicBezTo>
                  <a:close/>
                  <a:moveTo>
                    <a:pt x="911" y="501"/>
                  </a:moveTo>
                  <a:cubicBezTo>
                    <a:pt x="904" y="503"/>
                    <a:pt x="904" y="514"/>
                    <a:pt x="909" y="518"/>
                  </a:cubicBezTo>
                  <a:cubicBezTo>
                    <a:pt x="913" y="521"/>
                    <a:pt x="918" y="517"/>
                    <a:pt x="918" y="511"/>
                  </a:cubicBezTo>
                  <a:cubicBezTo>
                    <a:pt x="918" y="507"/>
                    <a:pt x="916" y="501"/>
                    <a:pt x="911" y="501"/>
                  </a:cubicBezTo>
                  <a:close/>
                  <a:moveTo>
                    <a:pt x="909" y="479"/>
                  </a:moveTo>
                  <a:cubicBezTo>
                    <a:pt x="902" y="480"/>
                    <a:pt x="902" y="492"/>
                    <a:pt x="908" y="495"/>
                  </a:cubicBezTo>
                  <a:cubicBezTo>
                    <a:pt x="912" y="499"/>
                    <a:pt x="917" y="495"/>
                    <a:pt x="917" y="489"/>
                  </a:cubicBezTo>
                  <a:cubicBezTo>
                    <a:pt x="917" y="484"/>
                    <a:pt x="915" y="478"/>
                    <a:pt x="909" y="479"/>
                  </a:cubicBezTo>
                  <a:close/>
                  <a:moveTo>
                    <a:pt x="865" y="380"/>
                  </a:moveTo>
                  <a:cubicBezTo>
                    <a:pt x="865" y="376"/>
                    <a:pt x="862" y="371"/>
                    <a:pt x="856" y="371"/>
                  </a:cubicBezTo>
                  <a:cubicBezTo>
                    <a:pt x="850" y="372"/>
                    <a:pt x="851" y="382"/>
                    <a:pt x="856" y="386"/>
                  </a:cubicBezTo>
                  <a:cubicBezTo>
                    <a:pt x="861" y="390"/>
                    <a:pt x="866" y="386"/>
                    <a:pt x="865" y="380"/>
                  </a:cubicBezTo>
                  <a:close/>
                  <a:moveTo>
                    <a:pt x="846" y="435"/>
                  </a:moveTo>
                  <a:cubicBezTo>
                    <a:pt x="838" y="436"/>
                    <a:pt x="839" y="447"/>
                    <a:pt x="845" y="451"/>
                  </a:cubicBezTo>
                  <a:cubicBezTo>
                    <a:pt x="850" y="454"/>
                    <a:pt x="855" y="450"/>
                    <a:pt x="855" y="444"/>
                  </a:cubicBezTo>
                  <a:cubicBezTo>
                    <a:pt x="854" y="440"/>
                    <a:pt x="851" y="434"/>
                    <a:pt x="846" y="435"/>
                  </a:cubicBezTo>
                  <a:close/>
                  <a:moveTo>
                    <a:pt x="870" y="479"/>
                  </a:moveTo>
                  <a:cubicBezTo>
                    <a:pt x="863" y="480"/>
                    <a:pt x="863" y="492"/>
                    <a:pt x="868" y="495"/>
                  </a:cubicBezTo>
                  <a:cubicBezTo>
                    <a:pt x="873" y="499"/>
                    <a:pt x="878" y="495"/>
                    <a:pt x="878" y="489"/>
                  </a:cubicBezTo>
                  <a:cubicBezTo>
                    <a:pt x="878" y="484"/>
                    <a:pt x="876" y="478"/>
                    <a:pt x="870" y="479"/>
                  </a:cubicBezTo>
                  <a:close/>
                  <a:moveTo>
                    <a:pt x="869" y="518"/>
                  </a:moveTo>
                  <a:cubicBezTo>
                    <a:pt x="874" y="521"/>
                    <a:pt x="879" y="517"/>
                    <a:pt x="879" y="511"/>
                  </a:cubicBezTo>
                  <a:cubicBezTo>
                    <a:pt x="880" y="507"/>
                    <a:pt x="877" y="501"/>
                    <a:pt x="871" y="501"/>
                  </a:cubicBezTo>
                  <a:cubicBezTo>
                    <a:pt x="864" y="503"/>
                    <a:pt x="864" y="514"/>
                    <a:pt x="869" y="518"/>
                  </a:cubicBezTo>
                  <a:close/>
                  <a:moveTo>
                    <a:pt x="415" y="479"/>
                  </a:moveTo>
                  <a:cubicBezTo>
                    <a:pt x="406" y="480"/>
                    <a:pt x="404" y="491"/>
                    <a:pt x="410" y="495"/>
                  </a:cubicBezTo>
                  <a:cubicBezTo>
                    <a:pt x="415" y="499"/>
                    <a:pt x="423" y="495"/>
                    <a:pt x="423" y="489"/>
                  </a:cubicBezTo>
                  <a:cubicBezTo>
                    <a:pt x="424" y="484"/>
                    <a:pt x="421" y="478"/>
                    <a:pt x="415" y="479"/>
                  </a:cubicBezTo>
                  <a:close/>
                  <a:moveTo>
                    <a:pt x="692" y="547"/>
                  </a:moveTo>
                  <a:cubicBezTo>
                    <a:pt x="684" y="548"/>
                    <a:pt x="682" y="559"/>
                    <a:pt x="689" y="563"/>
                  </a:cubicBezTo>
                  <a:cubicBezTo>
                    <a:pt x="694" y="567"/>
                    <a:pt x="701" y="564"/>
                    <a:pt x="702" y="557"/>
                  </a:cubicBezTo>
                  <a:cubicBezTo>
                    <a:pt x="702" y="552"/>
                    <a:pt x="699" y="546"/>
                    <a:pt x="692" y="547"/>
                  </a:cubicBezTo>
                  <a:close/>
                  <a:moveTo>
                    <a:pt x="746" y="444"/>
                  </a:moveTo>
                  <a:cubicBezTo>
                    <a:pt x="746" y="440"/>
                    <a:pt x="743" y="434"/>
                    <a:pt x="737" y="435"/>
                  </a:cubicBezTo>
                  <a:cubicBezTo>
                    <a:pt x="729" y="436"/>
                    <a:pt x="728" y="446"/>
                    <a:pt x="734" y="451"/>
                  </a:cubicBezTo>
                  <a:cubicBezTo>
                    <a:pt x="739" y="454"/>
                    <a:pt x="746" y="451"/>
                    <a:pt x="746" y="444"/>
                  </a:cubicBezTo>
                  <a:close/>
                  <a:moveTo>
                    <a:pt x="758" y="413"/>
                  </a:moveTo>
                  <a:cubicBezTo>
                    <a:pt x="750" y="415"/>
                    <a:pt x="749" y="425"/>
                    <a:pt x="755" y="429"/>
                  </a:cubicBezTo>
                  <a:cubicBezTo>
                    <a:pt x="761" y="432"/>
                    <a:pt x="767" y="429"/>
                    <a:pt x="767" y="423"/>
                  </a:cubicBezTo>
                  <a:cubicBezTo>
                    <a:pt x="767" y="418"/>
                    <a:pt x="764" y="413"/>
                    <a:pt x="758" y="413"/>
                  </a:cubicBezTo>
                  <a:close/>
                  <a:moveTo>
                    <a:pt x="740" y="501"/>
                  </a:moveTo>
                  <a:cubicBezTo>
                    <a:pt x="732" y="503"/>
                    <a:pt x="730" y="513"/>
                    <a:pt x="736" y="518"/>
                  </a:cubicBezTo>
                  <a:cubicBezTo>
                    <a:pt x="742" y="521"/>
                    <a:pt x="748" y="518"/>
                    <a:pt x="749" y="511"/>
                  </a:cubicBezTo>
                  <a:cubicBezTo>
                    <a:pt x="749" y="507"/>
                    <a:pt x="746" y="501"/>
                    <a:pt x="740" y="501"/>
                  </a:cubicBezTo>
                  <a:close/>
                  <a:moveTo>
                    <a:pt x="735" y="473"/>
                  </a:moveTo>
                  <a:cubicBezTo>
                    <a:pt x="740" y="476"/>
                    <a:pt x="747" y="473"/>
                    <a:pt x="747" y="466"/>
                  </a:cubicBezTo>
                  <a:cubicBezTo>
                    <a:pt x="747" y="462"/>
                    <a:pt x="745" y="456"/>
                    <a:pt x="738" y="457"/>
                  </a:cubicBezTo>
                  <a:cubicBezTo>
                    <a:pt x="730" y="458"/>
                    <a:pt x="729" y="468"/>
                    <a:pt x="735" y="473"/>
                  </a:cubicBezTo>
                  <a:close/>
                  <a:moveTo>
                    <a:pt x="748" y="625"/>
                  </a:moveTo>
                  <a:cubicBezTo>
                    <a:pt x="748" y="620"/>
                    <a:pt x="746" y="615"/>
                    <a:pt x="739" y="615"/>
                  </a:cubicBezTo>
                  <a:cubicBezTo>
                    <a:pt x="731" y="616"/>
                    <a:pt x="729" y="627"/>
                    <a:pt x="735" y="631"/>
                  </a:cubicBezTo>
                  <a:cubicBezTo>
                    <a:pt x="740" y="635"/>
                    <a:pt x="747" y="631"/>
                    <a:pt x="748" y="625"/>
                  </a:cubicBezTo>
                  <a:close/>
                  <a:moveTo>
                    <a:pt x="740" y="593"/>
                  </a:moveTo>
                  <a:cubicBezTo>
                    <a:pt x="732" y="594"/>
                    <a:pt x="730" y="605"/>
                    <a:pt x="736" y="609"/>
                  </a:cubicBezTo>
                  <a:cubicBezTo>
                    <a:pt x="741" y="613"/>
                    <a:pt x="748" y="609"/>
                    <a:pt x="749" y="602"/>
                  </a:cubicBezTo>
                  <a:cubicBezTo>
                    <a:pt x="749" y="598"/>
                    <a:pt x="746" y="592"/>
                    <a:pt x="740" y="593"/>
                  </a:cubicBezTo>
                  <a:close/>
                  <a:moveTo>
                    <a:pt x="739" y="479"/>
                  </a:moveTo>
                  <a:cubicBezTo>
                    <a:pt x="731" y="480"/>
                    <a:pt x="730" y="491"/>
                    <a:pt x="736" y="495"/>
                  </a:cubicBezTo>
                  <a:cubicBezTo>
                    <a:pt x="741" y="499"/>
                    <a:pt x="748" y="495"/>
                    <a:pt x="748" y="489"/>
                  </a:cubicBezTo>
                  <a:cubicBezTo>
                    <a:pt x="748" y="484"/>
                    <a:pt x="746" y="478"/>
                    <a:pt x="739" y="479"/>
                  </a:cubicBezTo>
                  <a:close/>
                  <a:moveTo>
                    <a:pt x="997" y="262"/>
                  </a:moveTo>
                  <a:cubicBezTo>
                    <a:pt x="995" y="258"/>
                    <a:pt x="992" y="254"/>
                    <a:pt x="989" y="254"/>
                  </a:cubicBezTo>
                  <a:cubicBezTo>
                    <a:pt x="986" y="255"/>
                    <a:pt x="993" y="267"/>
                    <a:pt x="997" y="268"/>
                  </a:cubicBezTo>
                  <a:cubicBezTo>
                    <a:pt x="999" y="269"/>
                    <a:pt x="999" y="267"/>
                    <a:pt x="997" y="263"/>
                  </a:cubicBezTo>
                  <a:cubicBezTo>
                    <a:pt x="997" y="262"/>
                    <a:pt x="997" y="262"/>
                    <a:pt x="997" y="262"/>
                  </a:cubicBezTo>
                  <a:close/>
                  <a:moveTo>
                    <a:pt x="740" y="524"/>
                  </a:moveTo>
                  <a:cubicBezTo>
                    <a:pt x="732" y="525"/>
                    <a:pt x="731" y="536"/>
                    <a:pt x="737" y="540"/>
                  </a:cubicBezTo>
                  <a:cubicBezTo>
                    <a:pt x="742" y="544"/>
                    <a:pt x="749" y="541"/>
                    <a:pt x="749" y="534"/>
                  </a:cubicBezTo>
                  <a:cubicBezTo>
                    <a:pt x="750" y="529"/>
                    <a:pt x="747" y="524"/>
                    <a:pt x="740" y="524"/>
                  </a:cubicBezTo>
                  <a:close/>
                  <a:moveTo>
                    <a:pt x="805" y="325"/>
                  </a:moveTo>
                  <a:cubicBezTo>
                    <a:pt x="810" y="328"/>
                    <a:pt x="815" y="325"/>
                    <a:pt x="814" y="319"/>
                  </a:cubicBezTo>
                  <a:cubicBezTo>
                    <a:pt x="814" y="315"/>
                    <a:pt x="810" y="310"/>
                    <a:pt x="805" y="311"/>
                  </a:cubicBezTo>
                  <a:cubicBezTo>
                    <a:pt x="799" y="312"/>
                    <a:pt x="799" y="321"/>
                    <a:pt x="805" y="325"/>
                  </a:cubicBezTo>
                  <a:close/>
                  <a:moveTo>
                    <a:pt x="809" y="345"/>
                  </a:moveTo>
                  <a:cubicBezTo>
                    <a:pt x="814" y="348"/>
                    <a:pt x="819" y="345"/>
                    <a:pt x="819" y="339"/>
                  </a:cubicBezTo>
                  <a:cubicBezTo>
                    <a:pt x="818" y="335"/>
                    <a:pt x="815" y="330"/>
                    <a:pt x="809" y="330"/>
                  </a:cubicBezTo>
                  <a:cubicBezTo>
                    <a:pt x="803" y="332"/>
                    <a:pt x="803" y="341"/>
                    <a:pt x="809" y="345"/>
                  </a:cubicBezTo>
                  <a:close/>
                  <a:moveTo>
                    <a:pt x="761" y="457"/>
                  </a:moveTo>
                  <a:cubicBezTo>
                    <a:pt x="753" y="458"/>
                    <a:pt x="752" y="468"/>
                    <a:pt x="758" y="473"/>
                  </a:cubicBezTo>
                  <a:cubicBezTo>
                    <a:pt x="763" y="476"/>
                    <a:pt x="770" y="473"/>
                    <a:pt x="770" y="466"/>
                  </a:cubicBezTo>
                  <a:cubicBezTo>
                    <a:pt x="770" y="462"/>
                    <a:pt x="767" y="456"/>
                    <a:pt x="761" y="457"/>
                  </a:cubicBezTo>
                  <a:close/>
                  <a:moveTo>
                    <a:pt x="825" y="325"/>
                  </a:moveTo>
                  <a:cubicBezTo>
                    <a:pt x="830" y="328"/>
                    <a:pt x="834" y="325"/>
                    <a:pt x="834" y="319"/>
                  </a:cubicBezTo>
                  <a:cubicBezTo>
                    <a:pt x="833" y="315"/>
                    <a:pt x="829" y="310"/>
                    <a:pt x="824" y="311"/>
                  </a:cubicBezTo>
                  <a:cubicBezTo>
                    <a:pt x="818" y="312"/>
                    <a:pt x="819" y="321"/>
                    <a:pt x="825" y="325"/>
                  </a:cubicBezTo>
                  <a:close/>
                  <a:moveTo>
                    <a:pt x="1006" y="268"/>
                  </a:moveTo>
                  <a:cubicBezTo>
                    <a:pt x="1008" y="269"/>
                    <a:pt x="1008" y="267"/>
                    <a:pt x="1007" y="263"/>
                  </a:cubicBezTo>
                  <a:cubicBezTo>
                    <a:pt x="1006" y="263"/>
                    <a:pt x="1006" y="262"/>
                    <a:pt x="1006" y="262"/>
                  </a:cubicBezTo>
                  <a:cubicBezTo>
                    <a:pt x="1004" y="258"/>
                    <a:pt x="1000" y="254"/>
                    <a:pt x="998" y="254"/>
                  </a:cubicBezTo>
                  <a:cubicBezTo>
                    <a:pt x="995" y="255"/>
                    <a:pt x="1002" y="267"/>
                    <a:pt x="1006" y="268"/>
                  </a:cubicBezTo>
                  <a:close/>
                  <a:moveTo>
                    <a:pt x="986" y="268"/>
                  </a:moveTo>
                  <a:cubicBezTo>
                    <a:pt x="989" y="269"/>
                    <a:pt x="990" y="267"/>
                    <a:pt x="988" y="263"/>
                  </a:cubicBezTo>
                  <a:cubicBezTo>
                    <a:pt x="988" y="263"/>
                    <a:pt x="988" y="262"/>
                    <a:pt x="988" y="262"/>
                  </a:cubicBezTo>
                  <a:cubicBezTo>
                    <a:pt x="986" y="258"/>
                    <a:pt x="982" y="254"/>
                    <a:pt x="979" y="254"/>
                  </a:cubicBezTo>
                  <a:cubicBezTo>
                    <a:pt x="976" y="255"/>
                    <a:pt x="982" y="266"/>
                    <a:pt x="986" y="268"/>
                  </a:cubicBezTo>
                  <a:close/>
                  <a:moveTo>
                    <a:pt x="762" y="479"/>
                  </a:moveTo>
                  <a:cubicBezTo>
                    <a:pt x="754" y="480"/>
                    <a:pt x="753" y="491"/>
                    <a:pt x="759" y="495"/>
                  </a:cubicBezTo>
                  <a:cubicBezTo>
                    <a:pt x="764" y="499"/>
                    <a:pt x="771" y="495"/>
                    <a:pt x="771" y="489"/>
                  </a:cubicBezTo>
                  <a:cubicBezTo>
                    <a:pt x="771" y="484"/>
                    <a:pt x="769" y="478"/>
                    <a:pt x="762" y="479"/>
                  </a:cubicBezTo>
                  <a:close/>
                  <a:moveTo>
                    <a:pt x="763" y="501"/>
                  </a:moveTo>
                  <a:cubicBezTo>
                    <a:pt x="755" y="503"/>
                    <a:pt x="754" y="513"/>
                    <a:pt x="760" y="518"/>
                  </a:cubicBezTo>
                  <a:cubicBezTo>
                    <a:pt x="765" y="521"/>
                    <a:pt x="772" y="518"/>
                    <a:pt x="772" y="511"/>
                  </a:cubicBezTo>
                  <a:cubicBezTo>
                    <a:pt x="772" y="507"/>
                    <a:pt x="769" y="501"/>
                    <a:pt x="763" y="501"/>
                  </a:cubicBezTo>
                  <a:close/>
                  <a:moveTo>
                    <a:pt x="785" y="615"/>
                  </a:moveTo>
                  <a:cubicBezTo>
                    <a:pt x="777" y="616"/>
                    <a:pt x="775" y="628"/>
                    <a:pt x="781" y="632"/>
                  </a:cubicBezTo>
                  <a:cubicBezTo>
                    <a:pt x="786" y="635"/>
                    <a:pt x="792" y="631"/>
                    <a:pt x="793" y="625"/>
                  </a:cubicBezTo>
                  <a:cubicBezTo>
                    <a:pt x="794" y="620"/>
                    <a:pt x="791" y="615"/>
                    <a:pt x="785" y="615"/>
                  </a:cubicBezTo>
                  <a:close/>
                  <a:moveTo>
                    <a:pt x="1024" y="306"/>
                  </a:moveTo>
                  <a:cubicBezTo>
                    <a:pt x="1026" y="307"/>
                    <a:pt x="1027" y="304"/>
                    <a:pt x="1025" y="300"/>
                  </a:cubicBezTo>
                  <a:cubicBezTo>
                    <a:pt x="1023" y="296"/>
                    <a:pt x="1020" y="291"/>
                    <a:pt x="1018" y="291"/>
                  </a:cubicBezTo>
                  <a:cubicBezTo>
                    <a:pt x="1014" y="293"/>
                    <a:pt x="1021" y="305"/>
                    <a:pt x="1024" y="306"/>
                  </a:cubicBezTo>
                  <a:close/>
                  <a:moveTo>
                    <a:pt x="844" y="325"/>
                  </a:moveTo>
                  <a:cubicBezTo>
                    <a:pt x="849" y="328"/>
                    <a:pt x="853" y="325"/>
                    <a:pt x="852" y="319"/>
                  </a:cubicBezTo>
                  <a:cubicBezTo>
                    <a:pt x="852" y="315"/>
                    <a:pt x="848" y="310"/>
                    <a:pt x="843" y="311"/>
                  </a:cubicBezTo>
                  <a:cubicBezTo>
                    <a:pt x="837" y="312"/>
                    <a:pt x="838" y="321"/>
                    <a:pt x="844" y="325"/>
                  </a:cubicBezTo>
                  <a:close/>
                  <a:moveTo>
                    <a:pt x="1024" y="272"/>
                  </a:moveTo>
                  <a:cubicBezTo>
                    <a:pt x="1021" y="274"/>
                    <a:pt x="1029" y="287"/>
                    <a:pt x="1032" y="287"/>
                  </a:cubicBezTo>
                  <a:cubicBezTo>
                    <a:pt x="1033" y="288"/>
                    <a:pt x="1033" y="285"/>
                    <a:pt x="1031" y="281"/>
                  </a:cubicBezTo>
                  <a:cubicBezTo>
                    <a:pt x="1029" y="277"/>
                    <a:pt x="1026" y="272"/>
                    <a:pt x="1024" y="272"/>
                  </a:cubicBezTo>
                  <a:close/>
                  <a:moveTo>
                    <a:pt x="1015" y="287"/>
                  </a:moveTo>
                  <a:cubicBezTo>
                    <a:pt x="1017" y="288"/>
                    <a:pt x="1018" y="285"/>
                    <a:pt x="1016" y="281"/>
                  </a:cubicBezTo>
                  <a:cubicBezTo>
                    <a:pt x="1016" y="281"/>
                    <a:pt x="1016" y="281"/>
                    <a:pt x="1016" y="281"/>
                  </a:cubicBezTo>
                  <a:cubicBezTo>
                    <a:pt x="1014" y="277"/>
                    <a:pt x="1010" y="272"/>
                    <a:pt x="1008" y="272"/>
                  </a:cubicBezTo>
                  <a:cubicBezTo>
                    <a:pt x="1005" y="274"/>
                    <a:pt x="1012" y="286"/>
                    <a:pt x="1015" y="287"/>
                  </a:cubicBezTo>
                  <a:close/>
                  <a:moveTo>
                    <a:pt x="636" y="428"/>
                  </a:moveTo>
                  <a:cubicBezTo>
                    <a:pt x="642" y="433"/>
                    <a:pt x="650" y="429"/>
                    <a:pt x="650" y="423"/>
                  </a:cubicBezTo>
                  <a:cubicBezTo>
                    <a:pt x="650" y="419"/>
                    <a:pt x="647" y="413"/>
                    <a:pt x="640" y="413"/>
                  </a:cubicBezTo>
                  <a:cubicBezTo>
                    <a:pt x="632" y="415"/>
                    <a:pt x="631" y="424"/>
                    <a:pt x="636" y="428"/>
                  </a:cubicBezTo>
                  <a:close/>
                  <a:moveTo>
                    <a:pt x="1006" y="287"/>
                  </a:moveTo>
                  <a:cubicBezTo>
                    <a:pt x="1008" y="288"/>
                    <a:pt x="1009" y="285"/>
                    <a:pt x="1007" y="281"/>
                  </a:cubicBezTo>
                  <a:cubicBezTo>
                    <a:pt x="1005" y="277"/>
                    <a:pt x="1002" y="272"/>
                    <a:pt x="999" y="272"/>
                  </a:cubicBezTo>
                  <a:cubicBezTo>
                    <a:pt x="996" y="274"/>
                    <a:pt x="1002" y="286"/>
                    <a:pt x="1006" y="287"/>
                  </a:cubicBezTo>
                  <a:close/>
                  <a:moveTo>
                    <a:pt x="930" y="570"/>
                  </a:moveTo>
                  <a:cubicBezTo>
                    <a:pt x="923" y="571"/>
                    <a:pt x="923" y="584"/>
                    <a:pt x="928" y="587"/>
                  </a:cubicBezTo>
                  <a:cubicBezTo>
                    <a:pt x="932" y="589"/>
                    <a:pt x="936" y="586"/>
                    <a:pt x="937" y="580"/>
                  </a:cubicBezTo>
                  <a:cubicBezTo>
                    <a:pt x="938" y="575"/>
                    <a:pt x="935" y="569"/>
                    <a:pt x="930" y="570"/>
                  </a:cubicBezTo>
                  <a:close/>
                  <a:moveTo>
                    <a:pt x="1006" y="254"/>
                  </a:moveTo>
                  <a:cubicBezTo>
                    <a:pt x="1003" y="256"/>
                    <a:pt x="1012" y="268"/>
                    <a:pt x="1014" y="268"/>
                  </a:cubicBezTo>
                  <a:cubicBezTo>
                    <a:pt x="1016" y="269"/>
                    <a:pt x="1016" y="266"/>
                    <a:pt x="1014" y="262"/>
                  </a:cubicBezTo>
                  <a:cubicBezTo>
                    <a:pt x="1012" y="258"/>
                    <a:pt x="1008" y="254"/>
                    <a:pt x="1006" y="254"/>
                  </a:cubicBezTo>
                  <a:close/>
                  <a:moveTo>
                    <a:pt x="1014" y="254"/>
                  </a:moveTo>
                  <a:cubicBezTo>
                    <a:pt x="1011" y="256"/>
                    <a:pt x="1019" y="268"/>
                    <a:pt x="1022" y="268"/>
                  </a:cubicBezTo>
                  <a:cubicBezTo>
                    <a:pt x="1023" y="269"/>
                    <a:pt x="1023" y="266"/>
                    <a:pt x="1021" y="262"/>
                  </a:cubicBezTo>
                  <a:cubicBezTo>
                    <a:pt x="1019" y="258"/>
                    <a:pt x="1015" y="254"/>
                    <a:pt x="1014" y="254"/>
                  </a:cubicBezTo>
                  <a:close/>
                  <a:moveTo>
                    <a:pt x="848" y="345"/>
                  </a:moveTo>
                  <a:cubicBezTo>
                    <a:pt x="853" y="348"/>
                    <a:pt x="858" y="345"/>
                    <a:pt x="857" y="339"/>
                  </a:cubicBezTo>
                  <a:cubicBezTo>
                    <a:pt x="856" y="335"/>
                    <a:pt x="853" y="330"/>
                    <a:pt x="848" y="330"/>
                  </a:cubicBezTo>
                  <a:cubicBezTo>
                    <a:pt x="842" y="332"/>
                    <a:pt x="843" y="341"/>
                    <a:pt x="848" y="345"/>
                  </a:cubicBezTo>
                  <a:close/>
                  <a:moveTo>
                    <a:pt x="867" y="345"/>
                  </a:moveTo>
                  <a:cubicBezTo>
                    <a:pt x="872" y="348"/>
                    <a:pt x="876" y="345"/>
                    <a:pt x="875" y="339"/>
                  </a:cubicBezTo>
                  <a:cubicBezTo>
                    <a:pt x="875" y="335"/>
                    <a:pt x="871" y="330"/>
                    <a:pt x="866" y="330"/>
                  </a:cubicBezTo>
                  <a:cubicBezTo>
                    <a:pt x="860" y="332"/>
                    <a:pt x="861" y="341"/>
                    <a:pt x="867" y="345"/>
                  </a:cubicBezTo>
                  <a:close/>
                  <a:moveTo>
                    <a:pt x="998" y="282"/>
                  </a:moveTo>
                  <a:cubicBezTo>
                    <a:pt x="997" y="282"/>
                    <a:pt x="997" y="281"/>
                    <a:pt x="997" y="281"/>
                  </a:cubicBezTo>
                  <a:cubicBezTo>
                    <a:pt x="995" y="277"/>
                    <a:pt x="992" y="272"/>
                    <a:pt x="989" y="272"/>
                  </a:cubicBezTo>
                  <a:cubicBezTo>
                    <a:pt x="985" y="274"/>
                    <a:pt x="991" y="285"/>
                    <a:pt x="995" y="287"/>
                  </a:cubicBezTo>
                  <a:cubicBezTo>
                    <a:pt x="998" y="288"/>
                    <a:pt x="999" y="286"/>
                    <a:pt x="998" y="282"/>
                  </a:cubicBezTo>
                  <a:close/>
                  <a:moveTo>
                    <a:pt x="967" y="264"/>
                  </a:moveTo>
                  <a:cubicBezTo>
                    <a:pt x="967" y="263"/>
                    <a:pt x="966" y="263"/>
                    <a:pt x="966" y="262"/>
                  </a:cubicBezTo>
                  <a:cubicBezTo>
                    <a:pt x="964" y="258"/>
                    <a:pt x="961" y="254"/>
                    <a:pt x="958" y="254"/>
                  </a:cubicBezTo>
                  <a:cubicBezTo>
                    <a:pt x="954" y="255"/>
                    <a:pt x="959" y="265"/>
                    <a:pt x="963" y="268"/>
                  </a:cubicBezTo>
                  <a:cubicBezTo>
                    <a:pt x="966" y="270"/>
                    <a:pt x="968" y="268"/>
                    <a:pt x="967" y="264"/>
                  </a:cubicBezTo>
                  <a:close/>
                  <a:moveTo>
                    <a:pt x="929" y="541"/>
                  </a:moveTo>
                  <a:cubicBezTo>
                    <a:pt x="933" y="544"/>
                    <a:pt x="937" y="540"/>
                    <a:pt x="937" y="534"/>
                  </a:cubicBezTo>
                  <a:cubicBezTo>
                    <a:pt x="938" y="529"/>
                    <a:pt x="935" y="524"/>
                    <a:pt x="930" y="524"/>
                  </a:cubicBezTo>
                  <a:cubicBezTo>
                    <a:pt x="923" y="525"/>
                    <a:pt x="923" y="538"/>
                    <a:pt x="929" y="541"/>
                  </a:cubicBezTo>
                  <a:close/>
                  <a:moveTo>
                    <a:pt x="862" y="325"/>
                  </a:moveTo>
                  <a:cubicBezTo>
                    <a:pt x="867" y="328"/>
                    <a:pt x="871" y="325"/>
                    <a:pt x="870" y="319"/>
                  </a:cubicBezTo>
                  <a:cubicBezTo>
                    <a:pt x="870" y="315"/>
                    <a:pt x="866" y="310"/>
                    <a:pt x="861" y="311"/>
                  </a:cubicBezTo>
                  <a:cubicBezTo>
                    <a:pt x="855" y="312"/>
                    <a:pt x="857" y="321"/>
                    <a:pt x="862" y="325"/>
                  </a:cubicBezTo>
                  <a:close/>
                  <a:moveTo>
                    <a:pt x="984" y="287"/>
                  </a:moveTo>
                  <a:cubicBezTo>
                    <a:pt x="987" y="288"/>
                    <a:pt x="988" y="286"/>
                    <a:pt x="987" y="281"/>
                  </a:cubicBezTo>
                  <a:cubicBezTo>
                    <a:pt x="987" y="281"/>
                    <a:pt x="986" y="281"/>
                    <a:pt x="986" y="281"/>
                  </a:cubicBezTo>
                  <a:cubicBezTo>
                    <a:pt x="985" y="277"/>
                    <a:pt x="981" y="272"/>
                    <a:pt x="978" y="272"/>
                  </a:cubicBezTo>
                  <a:cubicBezTo>
                    <a:pt x="974" y="274"/>
                    <a:pt x="980" y="285"/>
                    <a:pt x="984" y="287"/>
                  </a:cubicBezTo>
                  <a:close/>
                  <a:moveTo>
                    <a:pt x="993" y="306"/>
                  </a:moveTo>
                  <a:cubicBezTo>
                    <a:pt x="996" y="308"/>
                    <a:pt x="997" y="305"/>
                    <a:pt x="995" y="300"/>
                  </a:cubicBezTo>
                  <a:cubicBezTo>
                    <a:pt x="994" y="296"/>
                    <a:pt x="990" y="291"/>
                    <a:pt x="987" y="291"/>
                  </a:cubicBezTo>
                  <a:cubicBezTo>
                    <a:pt x="983" y="293"/>
                    <a:pt x="988" y="304"/>
                    <a:pt x="993" y="306"/>
                  </a:cubicBezTo>
                  <a:close/>
                  <a:moveTo>
                    <a:pt x="972" y="287"/>
                  </a:moveTo>
                  <a:cubicBezTo>
                    <a:pt x="975" y="288"/>
                    <a:pt x="977" y="286"/>
                    <a:pt x="975" y="282"/>
                  </a:cubicBezTo>
                  <a:cubicBezTo>
                    <a:pt x="975" y="282"/>
                    <a:pt x="975" y="281"/>
                    <a:pt x="975" y="281"/>
                  </a:cubicBezTo>
                  <a:cubicBezTo>
                    <a:pt x="974" y="277"/>
                    <a:pt x="970" y="272"/>
                    <a:pt x="967" y="272"/>
                  </a:cubicBezTo>
                  <a:cubicBezTo>
                    <a:pt x="963" y="274"/>
                    <a:pt x="967" y="284"/>
                    <a:pt x="972" y="287"/>
                  </a:cubicBezTo>
                  <a:close/>
                  <a:moveTo>
                    <a:pt x="978" y="263"/>
                  </a:moveTo>
                  <a:cubicBezTo>
                    <a:pt x="978" y="263"/>
                    <a:pt x="977" y="262"/>
                    <a:pt x="977" y="262"/>
                  </a:cubicBezTo>
                  <a:cubicBezTo>
                    <a:pt x="976" y="258"/>
                    <a:pt x="972" y="254"/>
                    <a:pt x="969" y="254"/>
                  </a:cubicBezTo>
                  <a:cubicBezTo>
                    <a:pt x="965" y="255"/>
                    <a:pt x="971" y="266"/>
                    <a:pt x="975" y="268"/>
                  </a:cubicBezTo>
                  <a:cubicBezTo>
                    <a:pt x="978" y="269"/>
                    <a:pt x="979" y="267"/>
                    <a:pt x="978" y="263"/>
                  </a:cubicBezTo>
                  <a:close/>
                  <a:moveTo>
                    <a:pt x="1017" y="272"/>
                  </a:moveTo>
                  <a:cubicBezTo>
                    <a:pt x="1013" y="274"/>
                    <a:pt x="1021" y="287"/>
                    <a:pt x="1024" y="287"/>
                  </a:cubicBezTo>
                  <a:cubicBezTo>
                    <a:pt x="1026" y="288"/>
                    <a:pt x="1026" y="285"/>
                    <a:pt x="1024" y="281"/>
                  </a:cubicBezTo>
                  <a:cubicBezTo>
                    <a:pt x="1022" y="277"/>
                    <a:pt x="1019" y="272"/>
                    <a:pt x="1017" y="272"/>
                  </a:cubicBezTo>
                  <a:close/>
                  <a:moveTo>
                    <a:pt x="836" y="386"/>
                  </a:moveTo>
                  <a:cubicBezTo>
                    <a:pt x="841" y="390"/>
                    <a:pt x="846" y="386"/>
                    <a:pt x="846" y="380"/>
                  </a:cubicBezTo>
                  <a:cubicBezTo>
                    <a:pt x="846" y="376"/>
                    <a:pt x="842" y="371"/>
                    <a:pt x="837" y="371"/>
                  </a:cubicBezTo>
                  <a:cubicBezTo>
                    <a:pt x="830" y="372"/>
                    <a:pt x="831" y="382"/>
                    <a:pt x="836" y="386"/>
                  </a:cubicBezTo>
                  <a:close/>
                  <a:moveTo>
                    <a:pt x="806" y="541"/>
                  </a:moveTo>
                  <a:cubicBezTo>
                    <a:pt x="811" y="544"/>
                    <a:pt x="817" y="540"/>
                    <a:pt x="817" y="534"/>
                  </a:cubicBezTo>
                  <a:cubicBezTo>
                    <a:pt x="817" y="529"/>
                    <a:pt x="815" y="524"/>
                    <a:pt x="809" y="524"/>
                  </a:cubicBezTo>
                  <a:cubicBezTo>
                    <a:pt x="801" y="525"/>
                    <a:pt x="800" y="537"/>
                    <a:pt x="806" y="541"/>
                  </a:cubicBezTo>
                  <a:close/>
                  <a:moveTo>
                    <a:pt x="839" y="407"/>
                  </a:moveTo>
                  <a:cubicBezTo>
                    <a:pt x="844" y="411"/>
                    <a:pt x="850" y="408"/>
                    <a:pt x="849" y="401"/>
                  </a:cubicBezTo>
                  <a:cubicBezTo>
                    <a:pt x="849" y="397"/>
                    <a:pt x="846" y="392"/>
                    <a:pt x="840" y="392"/>
                  </a:cubicBezTo>
                  <a:cubicBezTo>
                    <a:pt x="833" y="393"/>
                    <a:pt x="834" y="403"/>
                    <a:pt x="839" y="407"/>
                  </a:cubicBezTo>
                  <a:close/>
                  <a:moveTo>
                    <a:pt x="829" y="401"/>
                  </a:moveTo>
                  <a:cubicBezTo>
                    <a:pt x="829" y="397"/>
                    <a:pt x="826" y="392"/>
                    <a:pt x="820" y="392"/>
                  </a:cubicBezTo>
                  <a:cubicBezTo>
                    <a:pt x="813" y="393"/>
                    <a:pt x="813" y="403"/>
                    <a:pt x="819" y="407"/>
                  </a:cubicBezTo>
                  <a:cubicBezTo>
                    <a:pt x="824" y="411"/>
                    <a:pt x="829" y="408"/>
                    <a:pt x="829" y="401"/>
                  </a:cubicBezTo>
                  <a:close/>
                  <a:moveTo>
                    <a:pt x="833" y="365"/>
                  </a:moveTo>
                  <a:cubicBezTo>
                    <a:pt x="838" y="369"/>
                    <a:pt x="843" y="366"/>
                    <a:pt x="842" y="359"/>
                  </a:cubicBezTo>
                  <a:cubicBezTo>
                    <a:pt x="842" y="356"/>
                    <a:pt x="838" y="350"/>
                    <a:pt x="833" y="351"/>
                  </a:cubicBezTo>
                  <a:cubicBezTo>
                    <a:pt x="826" y="352"/>
                    <a:pt x="827" y="361"/>
                    <a:pt x="833" y="365"/>
                  </a:cubicBezTo>
                  <a:close/>
                  <a:moveTo>
                    <a:pt x="871" y="365"/>
                  </a:moveTo>
                  <a:cubicBezTo>
                    <a:pt x="876" y="369"/>
                    <a:pt x="881" y="366"/>
                    <a:pt x="880" y="359"/>
                  </a:cubicBezTo>
                  <a:cubicBezTo>
                    <a:pt x="880" y="356"/>
                    <a:pt x="876" y="350"/>
                    <a:pt x="871" y="351"/>
                  </a:cubicBezTo>
                  <a:cubicBezTo>
                    <a:pt x="865" y="352"/>
                    <a:pt x="866" y="361"/>
                    <a:pt x="871" y="365"/>
                  </a:cubicBezTo>
                  <a:close/>
                  <a:moveTo>
                    <a:pt x="876" y="387"/>
                  </a:moveTo>
                  <a:cubicBezTo>
                    <a:pt x="881" y="389"/>
                    <a:pt x="885" y="386"/>
                    <a:pt x="884" y="380"/>
                  </a:cubicBezTo>
                  <a:cubicBezTo>
                    <a:pt x="884" y="376"/>
                    <a:pt x="880" y="371"/>
                    <a:pt x="875" y="371"/>
                  </a:cubicBezTo>
                  <a:cubicBezTo>
                    <a:pt x="869" y="372"/>
                    <a:pt x="870" y="383"/>
                    <a:pt x="876" y="387"/>
                  </a:cubicBezTo>
                  <a:close/>
                  <a:moveTo>
                    <a:pt x="860" y="408"/>
                  </a:moveTo>
                  <a:cubicBezTo>
                    <a:pt x="865" y="411"/>
                    <a:pt x="869" y="407"/>
                    <a:pt x="869" y="401"/>
                  </a:cubicBezTo>
                  <a:cubicBezTo>
                    <a:pt x="869" y="397"/>
                    <a:pt x="865" y="392"/>
                    <a:pt x="860" y="392"/>
                  </a:cubicBezTo>
                  <a:cubicBezTo>
                    <a:pt x="853" y="393"/>
                    <a:pt x="854" y="404"/>
                    <a:pt x="860" y="408"/>
                  </a:cubicBezTo>
                  <a:close/>
                  <a:moveTo>
                    <a:pt x="852" y="365"/>
                  </a:moveTo>
                  <a:cubicBezTo>
                    <a:pt x="857" y="369"/>
                    <a:pt x="862" y="366"/>
                    <a:pt x="861" y="359"/>
                  </a:cubicBezTo>
                  <a:cubicBezTo>
                    <a:pt x="861" y="356"/>
                    <a:pt x="858" y="350"/>
                    <a:pt x="852" y="351"/>
                  </a:cubicBezTo>
                  <a:cubicBezTo>
                    <a:pt x="846" y="352"/>
                    <a:pt x="847" y="361"/>
                    <a:pt x="852" y="365"/>
                  </a:cubicBezTo>
                  <a:close/>
                  <a:moveTo>
                    <a:pt x="912" y="570"/>
                  </a:moveTo>
                  <a:cubicBezTo>
                    <a:pt x="904" y="571"/>
                    <a:pt x="904" y="584"/>
                    <a:pt x="909" y="587"/>
                  </a:cubicBezTo>
                  <a:cubicBezTo>
                    <a:pt x="913" y="589"/>
                    <a:pt x="918" y="586"/>
                    <a:pt x="919" y="580"/>
                  </a:cubicBezTo>
                  <a:cubicBezTo>
                    <a:pt x="919" y="575"/>
                    <a:pt x="917" y="569"/>
                    <a:pt x="912" y="570"/>
                  </a:cubicBezTo>
                  <a:close/>
                  <a:moveTo>
                    <a:pt x="924" y="401"/>
                  </a:moveTo>
                  <a:cubicBezTo>
                    <a:pt x="924" y="397"/>
                    <a:pt x="921" y="392"/>
                    <a:pt x="916" y="392"/>
                  </a:cubicBezTo>
                  <a:cubicBezTo>
                    <a:pt x="909" y="393"/>
                    <a:pt x="911" y="404"/>
                    <a:pt x="916" y="408"/>
                  </a:cubicBezTo>
                  <a:cubicBezTo>
                    <a:pt x="921" y="411"/>
                    <a:pt x="925" y="407"/>
                    <a:pt x="924" y="401"/>
                  </a:cubicBezTo>
                  <a:close/>
                  <a:moveTo>
                    <a:pt x="928" y="518"/>
                  </a:moveTo>
                  <a:cubicBezTo>
                    <a:pt x="932" y="521"/>
                    <a:pt x="937" y="517"/>
                    <a:pt x="937" y="511"/>
                  </a:cubicBezTo>
                  <a:cubicBezTo>
                    <a:pt x="937" y="507"/>
                    <a:pt x="934" y="501"/>
                    <a:pt x="929" y="501"/>
                  </a:cubicBezTo>
                  <a:cubicBezTo>
                    <a:pt x="922" y="503"/>
                    <a:pt x="923" y="515"/>
                    <a:pt x="928" y="518"/>
                  </a:cubicBezTo>
                  <a:close/>
                  <a:moveTo>
                    <a:pt x="912" y="547"/>
                  </a:moveTo>
                  <a:cubicBezTo>
                    <a:pt x="905" y="548"/>
                    <a:pt x="904" y="561"/>
                    <a:pt x="910" y="564"/>
                  </a:cubicBezTo>
                  <a:cubicBezTo>
                    <a:pt x="914" y="567"/>
                    <a:pt x="919" y="563"/>
                    <a:pt x="919" y="557"/>
                  </a:cubicBezTo>
                  <a:cubicBezTo>
                    <a:pt x="919" y="552"/>
                    <a:pt x="917" y="546"/>
                    <a:pt x="912" y="547"/>
                  </a:cubicBezTo>
                  <a:close/>
                  <a:moveTo>
                    <a:pt x="927" y="495"/>
                  </a:moveTo>
                  <a:cubicBezTo>
                    <a:pt x="931" y="499"/>
                    <a:pt x="935" y="495"/>
                    <a:pt x="935" y="489"/>
                  </a:cubicBezTo>
                  <a:cubicBezTo>
                    <a:pt x="935" y="484"/>
                    <a:pt x="933" y="478"/>
                    <a:pt x="928" y="479"/>
                  </a:cubicBezTo>
                  <a:cubicBezTo>
                    <a:pt x="921" y="480"/>
                    <a:pt x="921" y="492"/>
                    <a:pt x="927" y="495"/>
                  </a:cubicBezTo>
                  <a:close/>
                  <a:moveTo>
                    <a:pt x="814" y="466"/>
                  </a:moveTo>
                  <a:cubicBezTo>
                    <a:pt x="814" y="462"/>
                    <a:pt x="811" y="456"/>
                    <a:pt x="805" y="457"/>
                  </a:cubicBezTo>
                  <a:cubicBezTo>
                    <a:pt x="798" y="458"/>
                    <a:pt x="797" y="468"/>
                    <a:pt x="803" y="473"/>
                  </a:cubicBezTo>
                  <a:cubicBezTo>
                    <a:pt x="808" y="476"/>
                    <a:pt x="814" y="473"/>
                    <a:pt x="814" y="466"/>
                  </a:cubicBezTo>
                  <a:close/>
                  <a:moveTo>
                    <a:pt x="816" y="489"/>
                  </a:moveTo>
                  <a:cubicBezTo>
                    <a:pt x="816" y="484"/>
                    <a:pt x="813" y="478"/>
                    <a:pt x="807" y="479"/>
                  </a:cubicBezTo>
                  <a:cubicBezTo>
                    <a:pt x="799" y="480"/>
                    <a:pt x="799" y="491"/>
                    <a:pt x="804" y="495"/>
                  </a:cubicBezTo>
                  <a:cubicBezTo>
                    <a:pt x="809" y="499"/>
                    <a:pt x="815" y="495"/>
                    <a:pt x="816" y="489"/>
                  </a:cubicBezTo>
                  <a:close/>
                  <a:moveTo>
                    <a:pt x="806" y="518"/>
                  </a:moveTo>
                  <a:cubicBezTo>
                    <a:pt x="811" y="521"/>
                    <a:pt x="816" y="517"/>
                    <a:pt x="817" y="511"/>
                  </a:cubicBezTo>
                  <a:cubicBezTo>
                    <a:pt x="817" y="507"/>
                    <a:pt x="814" y="501"/>
                    <a:pt x="808" y="501"/>
                  </a:cubicBezTo>
                  <a:cubicBezTo>
                    <a:pt x="800" y="503"/>
                    <a:pt x="800" y="514"/>
                    <a:pt x="806" y="518"/>
                  </a:cubicBezTo>
                  <a:close/>
                  <a:moveTo>
                    <a:pt x="892" y="570"/>
                  </a:moveTo>
                  <a:cubicBezTo>
                    <a:pt x="885" y="571"/>
                    <a:pt x="884" y="583"/>
                    <a:pt x="889" y="587"/>
                  </a:cubicBezTo>
                  <a:cubicBezTo>
                    <a:pt x="893" y="590"/>
                    <a:pt x="899" y="586"/>
                    <a:pt x="900" y="580"/>
                  </a:cubicBezTo>
                  <a:cubicBezTo>
                    <a:pt x="900" y="575"/>
                    <a:pt x="898" y="569"/>
                    <a:pt x="892" y="570"/>
                  </a:cubicBezTo>
                  <a:close/>
                  <a:moveTo>
                    <a:pt x="717" y="547"/>
                  </a:moveTo>
                  <a:cubicBezTo>
                    <a:pt x="708" y="548"/>
                    <a:pt x="707" y="559"/>
                    <a:pt x="713" y="563"/>
                  </a:cubicBezTo>
                  <a:cubicBezTo>
                    <a:pt x="718" y="567"/>
                    <a:pt x="725" y="564"/>
                    <a:pt x="726" y="557"/>
                  </a:cubicBezTo>
                  <a:cubicBezTo>
                    <a:pt x="726" y="552"/>
                    <a:pt x="723" y="546"/>
                    <a:pt x="717" y="547"/>
                  </a:cubicBezTo>
                  <a:close/>
                  <a:moveTo>
                    <a:pt x="964" y="518"/>
                  </a:moveTo>
                  <a:cubicBezTo>
                    <a:pt x="967" y="521"/>
                    <a:pt x="971" y="517"/>
                    <a:pt x="971" y="511"/>
                  </a:cubicBezTo>
                  <a:cubicBezTo>
                    <a:pt x="971" y="507"/>
                    <a:pt x="969" y="501"/>
                    <a:pt x="964" y="501"/>
                  </a:cubicBezTo>
                  <a:cubicBezTo>
                    <a:pt x="958" y="503"/>
                    <a:pt x="958" y="515"/>
                    <a:pt x="964" y="518"/>
                  </a:cubicBezTo>
                  <a:close/>
                  <a:moveTo>
                    <a:pt x="965" y="524"/>
                  </a:moveTo>
                  <a:cubicBezTo>
                    <a:pt x="959" y="525"/>
                    <a:pt x="959" y="538"/>
                    <a:pt x="964" y="541"/>
                  </a:cubicBezTo>
                  <a:cubicBezTo>
                    <a:pt x="968" y="544"/>
                    <a:pt x="972" y="540"/>
                    <a:pt x="972" y="534"/>
                  </a:cubicBezTo>
                  <a:cubicBezTo>
                    <a:pt x="972" y="529"/>
                    <a:pt x="970" y="524"/>
                    <a:pt x="965" y="524"/>
                  </a:cubicBezTo>
                  <a:close/>
                  <a:moveTo>
                    <a:pt x="981" y="444"/>
                  </a:moveTo>
                  <a:cubicBezTo>
                    <a:pt x="981" y="440"/>
                    <a:pt x="978" y="434"/>
                    <a:pt x="974" y="435"/>
                  </a:cubicBezTo>
                  <a:cubicBezTo>
                    <a:pt x="968" y="436"/>
                    <a:pt x="969" y="448"/>
                    <a:pt x="974" y="451"/>
                  </a:cubicBezTo>
                  <a:cubicBezTo>
                    <a:pt x="978" y="454"/>
                    <a:pt x="982" y="450"/>
                    <a:pt x="981" y="444"/>
                  </a:cubicBezTo>
                  <a:close/>
                  <a:moveTo>
                    <a:pt x="965" y="444"/>
                  </a:moveTo>
                  <a:cubicBezTo>
                    <a:pt x="965" y="440"/>
                    <a:pt x="962" y="434"/>
                    <a:pt x="957" y="435"/>
                  </a:cubicBezTo>
                  <a:cubicBezTo>
                    <a:pt x="951" y="436"/>
                    <a:pt x="953" y="448"/>
                    <a:pt x="958" y="451"/>
                  </a:cubicBezTo>
                  <a:cubicBezTo>
                    <a:pt x="962" y="454"/>
                    <a:pt x="966" y="450"/>
                    <a:pt x="965" y="444"/>
                  </a:cubicBezTo>
                  <a:close/>
                  <a:moveTo>
                    <a:pt x="981" y="501"/>
                  </a:moveTo>
                  <a:cubicBezTo>
                    <a:pt x="975" y="503"/>
                    <a:pt x="975" y="515"/>
                    <a:pt x="980" y="518"/>
                  </a:cubicBezTo>
                  <a:cubicBezTo>
                    <a:pt x="984" y="521"/>
                    <a:pt x="988" y="517"/>
                    <a:pt x="988" y="511"/>
                  </a:cubicBezTo>
                  <a:cubicBezTo>
                    <a:pt x="988" y="507"/>
                    <a:pt x="985" y="501"/>
                    <a:pt x="981" y="501"/>
                  </a:cubicBezTo>
                  <a:close/>
                  <a:moveTo>
                    <a:pt x="763" y="593"/>
                  </a:moveTo>
                  <a:cubicBezTo>
                    <a:pt x="755" y="594"/>
                    <a:pt x="753" y="605"/>
                    <a:pt x="759" y="609"/>
                  </a:cubicBezTo>
                  <a:cubicBezTo>
                    <a:pt x="764" y="613"/>
                    <a:pt x="771" y="609"/>
                    <a:pt x="772" y="602"/>
                  </a:cubicBezTo>
                  <a:cubicBezTo>
                    <a:pt x="772" y="598"/>
                    <a:pt x="769" y="592"/>
                    <a:pt x="763" y="593"/>
                  </a:cubicBezTo>
                  <a:close/>
                  <a:moveTo>
                    <a:pt x="764" y="570"/>
                  </a:moveTo>
                  <a:cubicBezTo>
                    <a:pt x="755" y="571"/>
                    <a:pt x="754" y="582"/>
                    <a:pt x="760" y="586"/>
                  </a:cubicBezTo>
                  <a:cubicBezTo>
                    <a:pt x="765" y="590"/>
                    <a:pt x="771" y="587"/>
                    <a:pt x="772" y="580"/>
                  </a:cubicBezTo>
                  <a:cubicBezTo>
                    <a:pt x="773" y="575"/>
                    <a:pt x="770" y="569"/>
                    <a:pt x="764" y="570"/>
                  </a:cubicBezTo>
                  <a:close/>
                  <a:moveTo>
                    <a:pt x="762" y="615"/>
                  </a:moveTo>
                  <a:cubicBezTo>
                    <a:pt x="754" y="616"/>
                    <a:pt x="752" y="627"/>
                    <a:pt x="758" y="631"/>
                  </a:cubicBezTo>
                  <a:cubicBezTo>
                    <a:pt x="763" y="635"/>
                    <a:pt x="770" y="631"/>
                    <a:pt x="771" y="625"/>
                  </a:cubicBezTo>
                  <a:cubicBezTo>
                    <a:pt x="771" y="620"/>
                    <a:pt x="769" y="615"/>
                    <a:pt x="762" y="615"/>
                  </a:cubicBezTo>
                  <a:close/>
                  <a:moveTo>
                    <a:pt x="948" y="570"/>
                  </a:moveTo>
                  <a:cubicBezTo>
                    <a:pt x="942" y="571"/>
                    <a:pt x="941" y="584"/>
                    <a:pt x="946" y="587"/>
                  </a:cubicBezTo>
                  <a:cubicBezTo>
                    <a:pt x="950" y="589"/>
                    <a:pt x="954" y="586"/>
                    <a:pt x="955" y="580"/>
                  </a:cubicBezTo>
                  <a:cubicBezTo>
                    <a:pt x="955" y="575"/>
                    <a:pt x="953" y="569"/>
                    <a:pt x="948" y="570"/>
                  </a:cubicBezTo>
                  <a:close/>
                  <a:moveTo>
                    <a:pt x="949" y="547"/>
                  </a:moveTo>
                  <a:cubicBezTo>
                    <a:pt x="942" y="548"/>
                    <a:pt x="942" y="561"/>
                    <a:pt x="947" y="564"/>
                  </a:cubicBezTo>
                  <a:cubicBezTo>
                    <a:pt x="951" y="567"/>
                    <a:pt x="955" y="563"/>
                    <a:pt x="955" y="557"/>
                  </a:cubicBezTo>
                  <a:cubicBezTo>
                    <a:pt x="956" y="552"/>
                    <a:pt x="954" y="546"/>
                    <a:pt x="949" y="547"/>
                  </a:cubicBezTo>
                  <a:close/>
                  <a:moveTo>
                    <a:pt x="1005" y="452"/>
                  </a:moveTo>
                  <a:cubicBezTo>
                    <a:pt x="1009" y="453"/>
                    <a:pt x="1011" y="450"/>
                    <a:pt x="1011" y="444"/>
                  </a:cubicBezTo>
                  <a:cubicBezTo>
                    <a:pt x="1010" y="440"/>
                    <a:pt x="1008" y="434"/>
                    <a:pt x="1004" y="435"/>
                  </a:cubicBezTo>
                  <a:cubicBezTo>
                    <a:pt x="998" y="436"/>
                    <a:pt x="1000" y="449"/>
                    <a:pt x="1005" y="452"/>
                  </a:cubicBezTo>
                  <a:close/>
                  <a:moveTo>
                    <a:pt x="1007" y="423"/>
                  </a:moveTo>
                  <a:cubicBezTo>
                    <a:pt x="1006" y="418"/>
                    <a:pt x="1004" y="413"/>
                    <a:pt x="1000" y="413"/>
                  </a:cubicBezTo>
                  <a:cubicBezTo>
                    <a:pt x="994" y="415"/>
                    <a:pt x="997" y="427"/>
                    <a:pt x="1002" y="430"/>
                  </a:cubicBezTo>
                  <a:cubicBezTo>
                    <a:pt x="1005" y="431"/>
                    <a:pt x="1008" y="428"/>
                    <a:pt x="1007" y="423"/>
                  </a:cubicBezTo>
                  <a:close/>
                  <a:moveTo>
                    <a:pt x="733" y="429"/>
                  </a:moveTo>
                  <a:cubicBezTo>
                    <a:pt x="738" y="432"/>
                    <a:pt x="744" y="429"/>
                    <a:pt x="744" y="423"/>
                  </a:cubicBezTo>
                  <a:cubicBezTo>
                    <a:pt x="745" y="418"/>
                    <a:pt x="741" y="413"/>
                    <a:pt x="735" y="413"/>
                  </a:cubicBezTo>
                  <a:cubicBezTo>
                    <a:pt x="727" y="415"/>
                    <a:pt x="727" y="425"/>
                    <a:pt x="733" y="429"/>
                  </a:cubicBezTo>
                  <a:close/>
                  <a:moveTo>
                    <a:pt x="992" y="457"/>
                  </a:moveTo>
                  <a:cubicBezTo>
                    <a:pt x="987" y="458"/>
                    <a:pt x="988" y="470"/>
                    <a:pt x="993" y="473"/>
                  </a:cubicBezTo>
                  <a:cubicBezTo>
                    <a:pt x="996" y="476"/>
                    <a:pt x="1000" y="472"/>
                    <a:pt x="999" y="466"/>
                  </a:cubicBezTo>
                  <a:cubicBezTo>
                    <a:pt x="999" y="462"/>
                    <a:pt x="996" y="456"/>
                    <a:pt x="992" y="457"/>
                  </a:cubicBezTo>
                  <a:close/>
                  <a:moveTo>
                    <a:pt x="1007" y="457"/>
                  </a:moveTo>
                  <a:cubicBezTo>
                    <a:pt x="1001" y="458"/>
                    <a:pt x="1003" y="471"/>
                    <a:pt x="1008" y="474"/>
                  </a:cubicBezTo>
                  <a:cubicBezTo>
                    <a:pt x="1011" y="475"/>
                    <a:pt x="1014" y="472"/>
                    <a:pt x="1014" y="466"/>
                  </a:cubicBezTo>
                  <a:cubicBezTo>
                    <a:pt x="1013" y="462"/>
                    <a:pt x="1011" y="456"/>
                    <a:pt x="1007" y="457"/>
                  </a:cubicBezTo>
                  <a:close/>
                  <a:moveTo>
                    <a:pt x="716" y="615"/>
                  </a:moveTo>
                  <a:cubicBezTo>
                    <a:pt x="707" y="616"/>
                    <a:pt x="705" y="627"/>
                    <a:pt x="711" y="631"/>
                  </a:cubicBezTo>
                  <a:cubicBezTo>
                    <a:pt x="716" y="635"/>
                    <a:pt x="723" y="631"/>
                    <a:pt x="724" y="625"/>
                  </a:cubicBezTo>
                  <a:cubicBezTo>
                    <a:pt x="725" y="620"/>
                    <a:pt x="722" y="615"/>
                    <a:pt x="716" y="615"/>
                  </a:cubicBezTo>
                  <a:close/>
                  <a:moveTo>
                    <a:pt x="641" y="435"/>
                  </a:moveTo>
                  <a:cubicBezTo>
                    <a:pt x="633" y="436"/>
                    <a:pt x="631" y="446"/>
                    <a:pt x="638" y="451"/>
                  </a:cubicBezTo>
                  <a:cubicBezTo>
                    <a:pt x="643" y="454"/>
                    <a:pt x="650" y="451"/>
                    <a:pt x="651" y="444"/>
                  </a:cubicBezTo>
                  <a:cubicBezTo>
                    <a:pt x="651" y="440"/>
                    <a:pt x="648" y="434"/>
                    <a:pt x="641" y="435"/>
                  </a:cubicBezTo>
                  <a:close/>
                  <a:moveTo>
                    <a:pt x="717" y="570"/>
                  </a:moveTo>
                  <a:cubicBezTo>
                    <a:pt x="708" y="571"/>
                    <a:pt x="707" y="582"/>
                    <a:pt x="713" y="586"/>
                  </a:cubicBezTo>
                  <a:cubicBezTo>
                    <a:pt x="718" y="590"/>
                    <a:pt x="725" y="587"/>
                    <a:pt x="726" y="580"/>
                  </a:cubicBezTo>
                  <a:cubicBezTo>
                    <a:pt x="726" y="575"/>
                    <a:pt x="723" y="569"/>
                    <a:pt x="717" y="570"/>
                  </a:cubicBezTo>
                  <a:close/>
                  <a:moveTo>
                    <a:pt x="829" y="345"/>
                  </a:moveTo>
                  <a:cubicBezTo>
                    <a:pt x="834" y="348"/>
                    <a:pt x="839" y="345"/>
                    <a:pt x="838" y="339"/>
                  </a:cubicBezTo>
                  <a:cubicBezTo>
                    <a:pt x="838" y="335"/>
                    <a:pt x="834" y="330"/>
                    <a:pt x="829" y="330"/>
                  </a:cubicBezTo>
                  <a:cubicBezTo>
                    <a:pt x="822" y="332"/>
                    <a:pt x="823" y="341"/>
                    <a:pt x="829" y="345"/>
                  </a:cubicBezTo>
                  <a:close/>
                  <a:moveTo>
                    <a:pt x="716" y="593"/>
                  </a:moveTo>
                  <a:cubicBezTo>
                    <a:pt x="708" y="594"/>
                    <a:pt x="706" y="605"/>
                    <a:pt x="712" y="609"/>
                  </a:cubicBezTo>
                  <a:cubicBezTo>
                    <a:pt x="717" y="613"/>
                    <a:pt x="724" y="609"/>
                    <a:pt x="725" y="602"/>
                  </a:cubicBezTo>
                  <a:cubicBezTo>
                    <a:pt x="726" y="598"/>
                    <a:pt x="723" y="592"/>
                    <a:pt x="716" y="593"/>
                  </a:cubicBezTo>
                  <a:close/>
                  <a:moveTo>
                    <a:pt x="786" y="570"/>
                  </a:moveTo>
                  <a:cubicBezTo>
                    <a:pt x="778" y="571"/>
                    <a:pt x="777" y="583"/>
                    <a:pt x="783" y="587"/>
                  </a:cubicBezTo>
                  <a:cubicBezTo>
                    <a:pt x="788" y="590"/>
                    <a:pt x="794" y="586"/>
                    <a:pt x="795" y="580"/>
                  </a:cubicBezTo>
                  <a:cubicBezTo>
                    <a:pt x="795" y="575"/>
                    <a:pt x="793" y="569"/>
                    <a:pt x="786" y="570"/>
                  </a:cubicBezTo>
                  <a:close/>
                  <a:moveTo>
                    <a:pt x="764" y="547"/>
                  </a:moveTo>
                  <a:cubicBezTo>
                    <a:pt x="756" y="548"/>
                    <a:pt x="754" y="559"/>
                    <a:pt x="760" y="563"/>
                  </a:cubicBezTo>
                  <a:cubicBezTo>
                    <a:pt x="765" y="567"/>
                    <a:pt x="772" y="564"/>
                    <a:pt x="772" y="557"/>
                  </a:cubicBezTo>
                  <a:cubicBezTo>
                    <a:pt x="773" y="552"/>
                    <a:pt x="770" y="546"/>
                    <a:pt x="764" y="547"/>
                  </a:cubicBezTo>
                  <a:close/>
                  <a:moveTo>
                    <a:pt x="787" y="547"/>
                  </a:moveTo>
                  <a:cubicBezTo>
                    <a:pt x="778" y="548"/>
                    <a:pt x="777" y="560"/>
                    <a:pt x="784" y="564"/>
                  </a:cubicBezTo>
                  <a:cubicBezTo>
                    <a:pt x="788" y="567"/>
                    <a:pt x="795" y="563"/>
                    <a:pt x="795" y="557"/>
                  </a:cubicBezTo>
                  <a:cubicBezTo>
                    <a:pt x="796" y="552"/>
                    <a:pt x="793" y="546"/>
                    <a:pt x="787" y="547"/>
                  </a:cubicBezTo>
                  <a:close/>
                  <a:moveTo>
                    <a:pt x="888" y="320"/>
                  </a:moveTo>
                  <a:cubicBezTo>
                    <a:pt x="888" y="320"/>
                    <a:pt x="888" y="319"/>
                    <a:pt x="888" y="319"/>
                  </a:cubicBezTo>
                  <a:cubicBezTo>
                    <a:pt x="887" y="315"/>
                    <a:pt x="883" y="310"/>
                    <a:pt x="879" y="311"/>
                  </a:cubicBezTo>
                  <a:cubicBezTo>
                    <a:pt x="873" y="312"/>
                    <a:pt x="875" y="321"/>
                    <a:pt x="880" y="325"/>
                  </a:cubicBezTo>
                  <a:cubicBezTo>
                    <a:pt x="884" y="328"/>
                    <a:pt x="889" y="326"/>
                    <a:pt x="888" y="320"/>
                  </a:cubicBezTo>
                  <a:close/>
                  <a:moveTo>
                    <a:pt x="786" y="593"/>
                  </a:moveTo>
                  <a:cubicBezTo>
                    <a:pt x="778" y="594"/>
                    <a:pt x="776" y="605"/>
                    <a:pt x="782" y="609"/>
                  </a:cubicBezTo>
                  <a:cubicBezTo>
                    <a:pt x="787" y="612"/>
                    <a:pt x="793" y="609"/>
                    <a:pt x="794" y="602"/>
                  </a:cubicBezTo>
                  <a:cubicBezTo>
                    <a:pt x="795" y="598"/>
                    <a:pt x="792" y="592"/>
                    <a:pt x="786" y="593"/>
                  </a:cubicBezTo>
                  <a:close/>
                  <a:moveTo>
                    <a:pt x="816" y="386"/>
                  </a:moveTo>
                  <a:cubicBezTo>
                    <a:pt x="821" y="390"/>
                    <a:pt x="826" y="386"/>
                    <a:pt x="826" y="380"/>
                  </a:cubicBezTo>
                  <a:cubicBezTo>
                    <a:pt x="826" y="376"/>
                    <a:pt x="822" y="371"/>
                    <a:pt x="817" y="371"/>
                  </a:cubicBezTo>
                  <a:cubicBezTo>
                    <a:pt x="810" y="372"/>
                    <a:pt x="810" y="382"/>
                    <a:pt x="816" y="386"/>
                  </a:cubicBezTo>
                  <a:close/>
                  <a:moveTo>
                    <a:pt x="802" y="451"/>
                  </a:moveTo>
                  <a:cubicBezTo>
                    <a:pt x="807" y="454"/>
                    <a:pt x="813" y="451"/>
                    <a:pt x="813" y="444"/>
                  </a:cubicBezTo>
                  <a:cubicBezTo>
                    <a:pt x="813" y="440"/>
                    <a:pt x="810" y="434"/>
                    <a:pt x="804" y="435"/>
                  </a:cubicBezTo>
                  <a:cubicBezTo>
                    <a:pt x="796" y="436"/>
                    <a:pt x="796" y="446"/>
                    <a:pt x="802" y="451"/>
                  </a:cubicBezTo>
                  <a:close/>
                  <a:moveTo>
                    <a:pt x="799" y="339"/>
                  </a:moveTo>
                  <a:cubicBezTo>
                    <a:pt x="798" y="335"/>
                    <a:pt x="795" y="330"/>
                    <a:pt x="789" y="330"/>
                  </a:cubicBezTo>
                  <a:cubicBezTo>
                    <a:pt x="782" y="332"/>
                    <a:pt x="783" y="341"/>
                    <a:pt x="789" y="345"/>
                  </a:cubicBezTo>
                  <a:cubicBezTo>
                    <a:pt x="794" y="348"/>
                    <a:pt x="799" y="345"/>
                    <a:pt x="799" y="339"/>
                  </a:cubicBezTo>
                  <a:close/>
                  <a:moveTo>
                    <a:pt x="800" y="429"/>
                  </a:moveTo>
                  <a:cubicBezTo>
                    <a:pt x="805" y="432"/>
                    <a:pt x="811" y="429"/>
                    <a:pt x="811" y="423"/>
                  </a:cubicBezTo>
                  <a:cubicBezTo>
                    <a:pt x="811" y="418"/>
                    <a:pt x="807" y="413"/>
                    <a:pt x="801" y="413"/>
                  </a:cubicBezTo>
                  <a:cubicBezTo>
                    <a:pt x="794" y="415"/>
                    <a:pt x="794" y="425"/>
                    <a:pt x="800" y="429"/>
                  </a:cubicBezTo>
                  <a:close/>
                  <a:moveTo>
                    <a:pt x="931" y="547"/>
                  </a:moveTo>
                  <a:cubicBezTo>
                    <a:pt x="923" y="548"/>
                    <a:pt x="923" y="561"/>
                    <a:pt x="929" y="564"/>
                  </a:cubicBezTo>
                  <a:cubicBezTo>
                    <a:pt x="933" y="567"/>
                    <a:pt x="937" y="563"/>
                    <a:pt x="938" y="557"/>
                  </a:cubicBezTo>
                  <a:cubicBezTo>
                    <a:pt x="938" y="552"/>
                    <a:pt x="936" y="546"/>
                    <a:pt x="931" y="547"/>
                  </a:cubicBezTo>
                  <a:close/>
                  <a:moveTo>
                    <a:pt x="786" y="501"/>
                  </a:moveTo>
                  <a:cubicBezTo>
                    <a:pt x="778" y="503"/>
                    <a:pt x="777" y="513"/>
                    <a:pt x="783" y="518"/>
                  </a:cubicBezTo>
                  <a:cubicBezTo>
                    <a:pt x="788" y="521"/>
                    <a:pt x="794" y="518"/>
                    <a:pt x="795" y="511"/>
                  </a:cubicBezTo>
                  <a:cubicBezTo>
                    <a:pt x="795" y="507"/>
                    <a:pt x="792" y="501"/>
                    <a:pt x="786" y="501"/>
                  </a:cubicBezTo>
                  <a:close/>
                  <a:moveTo>
                    <a:pt x="945" y="423"/>
                  </a:moveTo>
                  <a:cubicBezTo>
                    <a:pt x="945" y="418"/>
                    <a:pt x="942" y="413"/>
                    <a:pt x="937" y="413"/>
                  </a:cubicBezTo>
                  <a:cubicBezTo>
                    <a:pt x="931" y="415"/>
                    <a:pt x="932" y="426"/>
                    <a:pt x="937" y="429"/>
                  </a:cubicBezTo>
                  <a:cubicBezTo>
                    <a:pt x="942" y="432"/>
                    <a:pt x="946" y="429"/>
                    <a:pt x="945" y="423"/>
                  </a:cubicBezTo>
                  <a:close/>
                  <a:moveTo>
                    <a:pt x="778" y="339"/>
                  </a:moveTo>
                  <a:cubicBezTo>
                    <a:pt x="778" y="335"/>
                    <a:pt x="774" y="330"/>
                    <a:pt x="769" y="330"/>
                  </a:cubicBezTo>
                  <a:cubicBezTo>
                    <a:pt x="762" y="332"/>
                    <a:pt x="762" y="341"/>
                    <a:pt x="768" y="345"/>
                  </a:cubicBezTo>
                  <a:cubicBezTo>
                    <a:pt x="773" y="348"/>
                    <a:pt x="779" y="345"/>
                    <a:pt x="778" y="339"/>
                  </a:cubicBezTo>
                  <a:close/>
                  <a:moveTo>
                    <a:pt x="786" y="524"/>
                  </a:moveTo>
                  <a:cubicBezTo>
                    <a:pt x="778" y="525"/>
                    <a:pt x="777" y="537"/>
                    <a:pt x="784" y="541"/>
                  </a:cubicBezTo>
                  <a:cubicBezTo>
                    <a:pt x="789" y="544"/>
                    <a:pt x="795" y="540"/>
                    <a:pt x="795" y="534"/>
                  </a:cubicBezTo>
                  <a:cubicBezTo>
                    <a:pt x="795" y="529"/>
                    <a:pt x="793" y="524"/>
                    <a:pt x="786" y="524"/>
                  </a:cubicBezTo>
                  <a:close/>
                  <a:moveTo>
                    <a:pt x="778" y="429"/>
                  </a:moveTo>
                  <a:cubicBezTo>
                    <a:pt x="783" y="432"/>
                    <a:pt x="789" y="429"/>
                    <a:pt x="789" y="423"/>
                  </a:cubicBezTo>
                  <a:cubicBezTo>
                    <a:pt x="789" y="418"/>
                    <a:pt x="786" y="413"/>
                    <a:pt x="780" y="413"/>
                  </a:cubicBezTo>
                  <a:cubicBezTo>
                    <a:pt x="772" y="415"/>
                    <a:pt x="772" y="425"/>
                    <a:pt x="778" y="429"/>
                  </a:cubicBezTo>
                  <a:close/>
                  <a:moveTo>
                    <a:pt x="785" y="479"/>
                  </a:moveTo>
                  <a:cubicBezTo>
                    <a:pt x="777" y="480"/>
                    <a:pt x="776" y="491"/>
                    <a:pt x="782" y="495"/>
                  </a:cubicBezTo>
                  <a:cubicBezTo>
                    <a:pt x="787" y="499"/>
                    <a:pt x="793" y="495"/>
                    <a:pt x="794" y="489"/>
                  </a:cubicBezTo>
                  <a:cubicBezTo>
                    <a:pt x="794" y="484"/>
                    <a:pt x="791" y="478"/>
                    <a:pt x="785" y="479"/>
                  </a:cubicBezTo>
                  <a:close/>
                  <a:moveTo>
                    <a:pt x="782" y="435"/>
                  </a:moveTo>
                  <a:cubicBezTo>
                    <a:pt x="774" y="436"/>
                    <a:pt x="774" y="446"/>
                    <a:pt x="779" y="451"/>
                  </a:cubicBezTo>
                  <a:cubicBezTo>
                    <a:pt x="785" y="454"/>
                    <a:pt x="791" y="451"/>
                    <a:pt x="791" y="444"/>
                  </a:cubicBezTo>
                  <a:cubicBezTo>
                    <a:pt x="791" y="440"/>
                    <a:pt x="788" y="434"/>
                    <a:pt x="782" y="435"/>
                  </a:cubicBezTo>
                  <a:close/>
                  <a:moveTo>
                    <a:pt x="783" y="457"/>
                  </a:moveTo>
                  <a:cubicBezTo>
                    <a:pt x="776" y="458"/>
                    <a:pt x="775" y="468"/>
                    <a:pt x="781" y="473"/>
                  </a:cubicBezTo>
                  <a:cubicBezTo>
                    <a:pt x="786" y="476"/>
                    <a:pt x="792" y="473"/>
                    <a:pt x="793" y="466"/>
                  </a:cubicBezTo>
                  <a:cubicBezTo>
                    <a:pt x="793" y="462"/>
                    <a:pt x="790" y="456"/>
                    <a:pt x="783" y="457"/>
                  </a:cubicBezTo>
                  <a:close/>
                  <a:moveTo>
                    <a:pt x="764" y="524"/>
                  </a:moveTo>
                  <a:cubicBezTo>
                    <a:pt x="755" y="525"/>
                    <a:pt x="754" y="536"/>
                    <a:pt x="760" y="540"/>
                  </a:cubicBezTo>
                  <a:cubicBezTo>
                    <a:pt x="765" y="544"/>
                    <a:pt x="772" y="541"/>
                    <a:pt x="772" y="534"/>
                  </a:cubicBezTo>
                  <a:cubicBezTo>
                    <a:pt x="773" y="529"/>
                    <a:pt x="770" y="524"/>
                    <a:pt x="764" y="524"/>
                  </a:cubicBezTo>
                  <a:close/>
                  <a:moveTo>
                    <a:pt x="60" y="300"/>
                  </a:moveTo>
                  <a:cubicBezTo>
                    <a:pt x="62" y="297"/>
                    <a:pt x="64" y="292"/>
                    <a:pt x="64" y="291"/>
                  </a:cubicBezTo>
                  <a:cubicBezTo>
                    <a:pt x="64" y="291"/>
                    <a:pt x="64" y="291"/>
                    <a:pt x="64" y="291"/>
                  </a:cubicBezTo>
                  <a:cubicBezTo>
                    <a:pt x="62" y="293"/>
                    <a:pt x="56" y="305"/>
                    <a:pt x="56" y="307"/>
                  </a:cubicBezTo>
                  <a:cubicBezTo>
                    <a:pt x="57" y="307"/>
                    <a:pt x="60" y="301"/>
                    <a:pt x="60" y="300"/>
                  </a:cubicBezTo>
                  <a:close/>
                  <a:moveTo>
                    <a:pt x="63" y="291"/>
                  </a:moveTo>
                  <a:cubicBezTo>
                    <a:pt x="63" y="291"/>
                    <a:pt x="63" y="291"/>
                    <a:pt x="63" y="291"/>
                  </a:cubicBezTo>
                  <a:cubicBezTo>
                    <a:pt x="62" y="293"/>
                    <a:pt x="56" y="305"/>
                    <a:pt x="55" y="307"/>
                  </a:cubicBezTo>
                  <a:cubicBezTo>
                    <a:pt x="55" y="306"/>
                    <a:pt x="57" y="304"/>
                    <a:pt x="59" y="300"/>
                  </a:cubicBezTo>
                  <a:cubicBezTo>
                    <a:pt x="60" y="297"/>
                    <a:pt x="63" y="292"/>
                    <a:pt x="63" y="291"/>
                  </a:cubicBezTo>
                  <a:close/>
                  <a:moveTo>
                    <a:pt x="484" y="495"/>
                  </a:moveTo>
                  <a:cubicBezTo>
                    <a:pt x="490" y="499"/>
                    <a:pt x="497" y="495"/>
                    <a:pt x="498" y="489"/>
                  </a:cubicBezTo>
                  <a:cubicBezTo>
                    <a:pt x="499" y="484"/>
                    <a:pt x="496" y="478"/>
                    <a:pt x="489" y="479"/>
                  </a:cubicBezTo>
                  <a:cubicBezTo>
                    <a:pt x="480" y="480"/>
                    <a:pt x="478" y="491"/>
                    <a:pt x="484" y="495"/>
                  </a:cubicBezTo>
                  <a:close/>
                  <a:moveTo>
                    <a:pt x="111" y="268"/>
                  </a:moveTo>
                  <a:cubicBezTo>
                    <a:pt x="112" y="269"/>
                    <a:pt x="115" y="266"/>
                    <a:pt x="118" y="262"/>
                  </a:cubicBezTo>
                  <a:cubicBezTo>
                    <a:pt x="120" y="258"/>
                    <a:pt x="121" y="254"/>
                    <a:pt x="119" y="254"/>
                  </a:cubicBezTo>
                  <a:cubicBezTo>
                    <a:pt x="114" y="256"/>
                    <a:pt x="109" y="268"/>
                    <a:pt x="111" y="268"/>
                  </a:cubicBezTo>
                  <a:close/>
                  <a:moveTo>
                    <a:pt x="363" y="609"/>
                  </a:moveTo>
                  <a:cubicBezTo>
                    <a:pt x="368" y="613"/>
                    <a:pt x="375" y="609"/>
                    <a:pt x="375" y="602"/>
                  </a:cubicBezTo>
                  <a:cubicBezTo>
                    <a:pt x="376" y="598"/>
                    <a:pt x="373" y="592"/>
                    <a:pt x="366" y="593"/>
                  </a:cubicBezTo>
                  <a:cubicBezTo>
                    <a:pt x="358" y="594"/>
                    <a:pt x="357" y="605"/>
                    <a:pt x="363" y="609"/>
                  </a:cubicBezTo>
                  <a:close/>
                  <a:moveTo>
                    <a:pt x="472" y="311"/>
                  </a:moveTo>
                  <a:cubicBezTo>
                    <a:pt x="464" y="312"/>
                    <a:pt x="462" y="321"/>
                    <a:pt x="467" y="325"/>
                  </a:cubicBezTo>
                  <a:cubicBezTo>
                    <a:pt x="472" y="328"/>
                    <a:pt x="479" y="325"/>
                    <a:pt x="480" y="319"/>
                  </a:cubicBezTo>
                  <a:cubicBezTo>
                    <a:pt x="481" y="316"/>
                    <a:pt x="479" y="310"/>
                    <a:pt x="472" y="311"/>
                  </a:cubicBezTo>
                  <a:close/>
                  <a:moveTo>
                    <a:pt x="73" y="272"/>
                  </a:moveTo>
                  <a:cubicBezTo>
                    <a:pt x="73" y="272"/>
                    <a:pt x="73" y="272"/>
                    <a:pt x="73" y="272"/>
                  </a:cubicBezTo>
                  <a:cubicBezTo>
                    <a:pt x="72" y="274"/>
                    <a:pt x="65" y="286"/>
                    <a:pt x="65" y="287"/>
                  </a:cubicBezTo>
                  <a:cubicBezTo>
                    <a:pt x="65" y="287"/>
                    <a:pt x="66" y="285"/>
                    <a:pt x="69" y="281"/>
                  </a:cubicBezTo>
                  <a:cubicBezTo>
                    <a:pt x="70" y="278"/>
                    <a:pt x="73" y="273"/>
                    <a:pt x="73" y="272"/>
                  </a:cubicBezTo>
                  <a:close/>
                  <a:moveTo>
                    <a:pt x="91" y="291"/>
                  </a:moveTo>
                  <a:cubicBezTo>
                    <a:pt x="89" y="292"/>
                    <a:pt x="87" y="297"/>
                    <a:pt x="86" y="299"/>
                  </a:cubicBezTo>
                  <a:cubicBezTo>
                    <a:pt x="84" y="303"/>
                    <a:pt x="83" y="306"/>
                    <a:pt x="84" y="307"/>
                  </a:cubicBezTo>
                  <a:cubicBezTo>
                    <a:pt x="86" y="307"/>
                    <a:pt x="88" y="304"/>
                    <a:pt x="90" y="300"/>
                  </a:cubicBezTo>
                  <a:cubicBezTo>
                    <a:pt x="92" y="296"/>
                    <a:pt x="94" y="291"/>
                    <a:pt x="91" y="291"/>
                  </a:cubicBezTo>
                  <a:close/>
                  <a:moveTo>
                    <a:pt x="112" y="254"/>
                  </a:moveTo>
                  <a:cubicBezTo>
                    <a:pt x="107" y="256"/>
                    <a:pt x="101" y="268"/>
                    <a:pt x="103" y="268"/>
                  </a:cubicBezTo>
                  <a:cubicBezTo>
                    <a:pt x="104" y="269"/>
                    <a:pt x="107" y="266"/>
                    <a:pt x="110" y="262"/>
                  </a:cubicBezTo>
                  <a:cubicBezTo>
                    <a:pt x="112" y="259"/>
                    <a:pt x="114" y="254"/>
                    <a:pt x="112" y="254"/>
                  </a:cubicBezTo>
                  <a:close/>
                  <a:moveTo>
                    <a:pt x="85" y="291"/>
                  </a:moveTo>
                  <a:cubicBezTo>
                    <a:pt x="80" y="293"/>
                    <a:pt x="76" y="306"/>
                    <a:pt x="77" y="307"/>
                  </a:cubicBezTo>
                  <a:cubicBezTo>
                    <a:pt x="78" y="307"/>
                    <a:pt x="81" y="304"/>
                    <a:pt x="83" y="300"/>
                  </a:cubicBezTo>
                  <a:cubicBezTo>
                    <a:pt x="85" y="296"/>
                    <a:pt x="87" y="291"/>
                    <a:pt x="85" y="291"/>
                  </a:cubicBezTo>
                  <a:close/>
                  <a:moveTo>
                    <a:pt x="69" y="291"/>
                  </a:moveTo>
                  <a:cubicBezTo>
                    <a:pt x="66" y="293"/>
                    <a:pt x="61" y="307"/>
                    <a:pt x="62" y="307"/>
                  </a:cubicBezTo>
                  <a:cubicBezTo>
                    <a:pt x="62" y="307"/>
                    <a:pt x="65" y="304"/>
                    <a:pt x="67" y="300"/>
                  </a:cubicBezTo>
                  <a:cubicBezTo>
                    <a:pt x="68" y="296"/>
                    <a:pt x="70" y="291"/>
                    <a:pt x="69" y="291"/>
                  </a:cubicBezTo>
                  <a:close/>
                  <a:moveTo>
                    <a:pt x="93" y="287"/>
                  </a:moveTo>
                  <a:cubicBezTo>
                    <a:pt x="95" y="288"/>
                    <a:pt x="97" y="285"/>
                    <a:pt x="100" y="281"/>
                  </a:cubicBezTo>
                  <a:cubicBezTo>
                    <a:pt x="102" y="277"/>
                    <a:pt x="103" y="272"/>
                    <a:pt x="101" y="272"/>
                  </a:cubicBezTo>
                  <a:cubicBezTo>
                    <a:pt x="99" y="273"/>
                    <a:pt x="96" y="278"/>
                    <a:pt x="95" y="280"/>
                  </a:cubicBezTo>
                  <a:cubicBezTo>
                    <a:pt x="93" y="284"/>
                    <a:pt x="92" y="287"/>
                    <a:pt x="93" y="287"/>
                  </a:cubicBezTo>
                  <a:close/>
                  <a:moveTo>
                    <a:pt x="479" y="339"/>
                  </a:moveTo>
                  <a:cubicBezTo>
                    <a:pt x="479" y="335"/>
                    <a:pt x="477" y="330"/>
                    <a:pt x="471" y="330"/>
                  </a:cubicBezTo>
                  <a:cubicBezTo>
                    <a:pt x="462" y="332"/>
                    <a:pt x="460" y="341"/>
                    <a:pt x="466" y="345"/>
                  </a:cubicBezTo>
                  <a:cubicBezTo>
                    <a:pt x="471" y="348"/>
                    <a:pt x="478" y="345"/>
                    <a:pt x="479" y="339"/>
                  </a:cubicBezTo>
                  <a:close/>
                  <a:moveTo>
                    <a:pt x="97" y="268"/>
                  </a:moveTo>
                  <a:cubicBezTo>
                    <a:pt x="97" y="269"/>
                    <a:pt x="100" y="266"/>
                    <a:pt x="103" y="262"/>
                  </a:cubicBezTo>
                  <a:cubicBezTo>
                    <a:pt x="105" y="259"/>
                    <a:pt x="107" y="254"/>
                    <a:pt x="105" y="254"/>
                  </a:cubicBezTo>
                  <a:cubicBezTo>
                    <a:pt x="101" y="256"/>
                    <a:pt x="95" y="268"/>
                    <a:pt x="97" y="268"/>
                  </a:cubicBezTo>
                  <a:close/>
                  <a:moveTo>
                    <a:pt x="434" y="586"/>
                  </a:moveTo>
                  <a:cubicBezTo>
                    <a:pt x="440" y="590"/>
                    <a:pt x="447" y="586"/>
                    <a:pt x="447" y="580"/>
                  </a:cubicBezTo>
                  <a:cubicBezTo>
                    <a:pt x="448" y="575"/>
                    <a:pt x="445" y="569"/>
                    <a:pt x="438" y="570"/>
                  </a:cubicBezTo>
                  <a:cubicBezTo>
                    <a:pt x="429" y="571"/>
                    <a:pt x="428" y="582"/>
                    <a:pt x="434" y="586"/>
                  </a:cubicBezTo>
                  <a:close/>
                  <a:moveTo>
                    <a:pt x="457" y="319"/>
                  </a:moveTo>
                  <a:cubicBezTo>
                    <a:pt x="458" y="316"/>
                    <a:pt x="456" y="310"/>
                    <a:pt x="450" y="311"/>
                  </a:cubicBezTo>
                  <a:cubicBezTo>
                    <a:pt x="442" y="312"/>
                    <a:pt x="439" y="321"/>
                    <a:pt x="445" y="325"/>
                  </a:cubicBezTo>
                  <a:cubicBezTo>
                    <a:pt x="449" y="328"/>
                    <a:pt x="456" y="325"/>
                    <a:pt x="457" y="319"/>
                  </a:cubicBezTo>
                  <a:close/>
                  <a:moveTo>
                    <a:pt x="70" y="281"/>
                  </a:moveTo>
                  <a:cubicBezTo>
                    <a:pt x="72" y="278"/>
                    <a:pt x="74" y="273"/>
                    <a:pt x="74" y="272"/>
                  </a:cubicBezTo>
                  <a:cubicBezTo>
                    <a:pt x="74" y="272"/>
                    <a:pt x="74" y="272"/>
                    <a:pt x="74" y="272"/>
                  </a:cubicBezTo>
                  <a:cubicBezTo>
                    <a:pt x="73" y="274"/>
                    <a:pt x="66" y="286"/>
                    <a:pt x="66" y="287"/>
                  </a:cubicBezTo>
                  <a:cubicBezTo>
                    <a:pt x="67" y="287"/>
                    <a:pt x="70" y="282"/>
                    <a:pt x="70" y="281"/>
                  </a:cubicBezTo>
                  <a:close/>
                  <a:moveTo>
                    <a:pt x="484" y="540"/>
                  </a:moveTo>
                  <a:cubicBezTo>
                    <a:pt x="490" y="544"/>
                    <a:pt x="497" y="541"/>
                    <a:pt x="498" y="534"/>
                  </a:cubicBezTo>
                  <a:cubicBezTo>
                    <a:pt x="498" y="529"/>
                    <a:pt x="495" y="524"/>
                    <a:pt x="488" y="524"/>
                  </a:cubicBezTo>
                  <a:cubicBezTo>
                    <a:pt x="479" y="525"/>
                    <a:pt x="478" y="536"/>
                    <a:pt x="484" y="540"/>
                  </a:cubicBezTo>
                  <a:close/>
                  <a:moveTo>
                    <a:pt x="484" y="518"/>
                  </a:moveTo>
                  <a:cubicBezTo>
                    <a:pt x="490" y="521"/>
                    <a:pt x="497" y="518"/>
                    <a:pt x="498" y="511"/>
                  </a:cubicBezTo>
                  <a:cubicBezTo>
                    <a:pt x="498" y="507"/>
                    <a:pt x="495" y="501"/>
                    <a:pt x="488" y="501"/>
                  </a:cubicBezTo>
                  <a:cubicBezTo>
                    <a:pt x="479" y="503"/>
                    <a:pt x="478" y="513"/>
                    <a:pt x="484" y="518"/>
                  </a:cubicBezTo>
                  <a:close/>
                  <a:moveTo>
                    <a:pt x="484" y="609"/>
                  </a:moveTo>
                  <a:cubicBezTo>
                    <a:pt x="490" y="613"/>
                    <a:pt x="498" y="609"/>
                    <a:pt x="498" y="602"/>
                  </a:cubicBezTo>
                  <a:cubicBezTo>
                    <a:pt x="499" y="598"/>
                    <a:pt x="495" y="592"/>
                    <a:pt x="488" y="593"/>
                  </a:cubicBezTo>
                  <a:cubicBezTo>
                    <a:pt x="479" y="594"/>
                    <a:pt x="478" y="605"/>
                    <a:pt x="484" y="609"/>
                  </a:cubicBezTo>
                  <a:close/>
                  <a:moveTo>
                    <a:pt x="91" y="262"/>
                  </a:moveTo>
                  <a:cubicBezTo>
                    <a:pt x="93" y="259"/>
                    <a:pt x="96" y="254"/>
                    <a:pt x="94" y="254"/>
                  </a:cubicBezTo>
                  <a:cubicBezTo>
                    <a:pt x="91" y="256"/>
                    <a:pt x="85" y="268"/>
                    <a:pt x="86" y="268"/>
                  </a:cubicBezTo>
                  <a:cubicBezTo>
                    <a:pt x="86" y="269"/>
                    <a:pt x="89" y="266"/>
                    <a:pt x="91" y="262"/>
                  </a:cubicBezTo>
                  <a:close/>
                  <a:moveTo>
                    <a:pt x="484" y="586"/>
                  </a:moveTo>
                  <a:cubicBezTo>
                    <a:pt x="490" y="590"/>
                    <a:pt x="497" y="586"/>
                    <a:pt x="498" y="580"/>
                  </a:cubicBezTo>
                  <a:cubicBezTo>
                    <a:pt x="498" y="575"/>
                    <a:pt x="495" y="569"/>
                    <a:pt x="488" y="570"/>
                  </a:cubicBezTo>
                  <a:cubicBezTo>
                    <a:pt x="479" y="571"/>
                    <a:pt x="478" y="582"/>
                    <a:pt x="484" y="586"/>
                  </a:cubicBezTo>
                  <a:close/>
                  <a:moveTo>
                    <a:pt x="127" y="254"/>
                  </a:moveTo>
                  <a:cubicBezTo>
                    <a:pt x="123" y="255"/>
                    <a:pt x="117" y="267"/>
                    <a:pt x="119" y="268"/>
                  </a:cubicBezTo>
                  <a:cubicBezTo>
                    <a:pt x="121" y="269"/>
                    <a:pt x="124" y="266"/>
                    <a:pt x="126" y="262"/>
                  </a:cubicBezTo>
                  <a:cubicBezTo>
                    <a:pt x="128" y="259"/>
                    <a:pt x="130" y="254"/>
                    <a:pt x="127" y="254"/>
                  </a:cubicBezTo>
                  <a:close/>
                  <a:moveTo>
                    <a:pt x="490" y="435"/>
                  </a:moveTo>
                  <a:cubicBezTo>
                    <a:pt x="481" y="436"/>
                    <a:pt x="479" y="446"/>
                    <a:pt x="485" y="451"/>
                  </a:cubicBezTo>
                  <a:cubicBezTo>
                    <a:pt x="491" y="454"/>
                    <a:pt x="498" y="451"/>
                    <a:pt x="499" y="444"/>
                  </a:cubicBezTo>
                  <a:cubicBezTo>
                    <a:pt x="499" y="440"/>
                    <a:pt x="497" y="434"/>
                    <a:pt x="490" y="435"/>
                  </a:cubicBezTo>
                  <a:close/>
                  <a:moveTo>
                    <a:pt x="81" y="262"/>
                  </a:moveTo>
                  <a:cubicBezTo>
                    <a:pt x="82" y="260"/>
                    <a:pt x="85" y="255"/>
                    <a:pt x="85" y="254"/>
                  </a:cubicBezTo>
                  <a:cubicBezTo>
                    <a:pt x="85" y="254"/>
                    <a:pt x="85" y="254"/>
                    <a:pt x="85" y="254"/>
                  </a:cubicBezTo>
                  <a:cubicBezTo>
                    <a:pt x="84" y="255"/>
                    <a:pt x="77" y="267"/>
                    <a:pt x="76" y="268"/>
                  </a:cubicBezTo>
                  <a:cubicBezTo>
                    <a:pt x="77" y="268"/>
                    <a:pt x="80" y="263"/>
                    <a:pt x="81" y="262"/>
                  </a:cubicBezTo>
                  <a:close/>
                  <a:moveTo>
                    <a:pt x="468" y="371"/>
                  </a:moveTo>
                  <a:cubicBezTo>
                    <a:pt x="459" y="372"/>
                    <a:pt x="458" y="382"/>
                    <a:pt x="463" y="386"/>
                  </a:cubicBezTo>
                  <a:cubicBezTo>
                    <a:pt x="468" y="390"/>
                    <a:pt x="476" y="386"/>
                    <a:pt x="477" y="380"/>
                  </a:cubicBezTo>
                  <a:cubicBezTo>
                    <a:pt x="477" y="376"/>
                    <a:pt x="475" y="371"/>
                    <a:pt x="468" y="371"/>
                  </a:cubicBezTo>
                  <a:close/>
                  <a:moveTo>
                    <a:pt x="79" y="262"/>
                  </a:moveTo>
                  <a:cubicBezTo>
                    <a:pt x="81" y="259"/>
                    <a:pt x="84" y="255"/>
                    <a:pt x="84" y="254"/>
                  </a:cubicBezTo>
                  <a:cubicBezTo>
                    <a:pt x="84" y="254"/>
                    <a:pt x="84" y="254"/>
                    <a:pt x="84" y="254"/>
                  </a:cubicBezTo>
                  <a:cubicBezTo>
                    <a:pt x="83" y="255"/>
                    <a:pt x="76" y="267"/>
                    <a:pt x="75" y="268"/>
                  </a:cubicBezTo>
                  <a:cubicBezTo>
                    <a:pt x="75" y="268"/>
                    <a:pt x="76" y="268"/>
                    <a:pt x="79" y="262"/>
                  </a:cubicBezTo>
                  <a:close/>
                  <a:moveTo>
                    <a:pt x="137" y="254"/>
                  </a:moveTo>
                  <a:cubicBezTo>
                    <a:pt x="131" y="255"/>
                    <a:pt x="126" y="267"/>
                    <a:pt x="128" y="268"/>
                  </a:cubicBezTo>
                  <a:cubicBezTo>
                    <a:pt x="130" y="269"/>
                    <a:pt x="133" y="266"/>
                    <a:pt x="136" y="262"/>
                  </a:cubicBezTo>
                  <a:cubicBezTo>
                    <a:pt x="138" y="259"/>
                    <a:pt x="139" y="254"/>
                    <a:pt x="137" y="254"/>
                  </a:cubicBezTo>
                  <a:close/>
                  <a:moveTo>
                    <a:pt x="499" y="466"/>
                  </a:moveTo>
                  <a:cubicBezTo>
                    <a:pt x="499" y="462"/>
                    <a:pt x="496" y="456"/>
                    <a:pt x="489" y="457"/>
                  </a:cubicBezTo>
                  <a:cubicBezTo>
                    <a:pt x="480" y="458"/>
                    <a:pt x="479" y="468"/>
                    <a:pt x="485" y="473"/>
                  </a:cubicBezTo>
                  <a:cubicBezTo>
                    <a:pt x="490" y="476"/>
                    <a:pt x="498" y="473"/>
                    <a:pt x="499" y="466"/>
                  </a:cubicBezTo>
                  <a:close/>
                  <a:moveTo>
                    <a:pt x="73" y="291"/>
                  </a:moveTo>
                  <a:cubicBezTo>
                    <a:pt x="70" y="293"/>
                    <a:pt x="65" y="306"/>
                    <a:pt x="66" y="307"/>
                  </a:cubicBezTo>
                  <a:cubicBezTo>
                    <a:pt x="67" y="307"/>
                    <a:pt x="69" y="304"/>
                    <a:pt x="71" y="300"/>
                  </a:cubicBezTo>
                  <a:cubicBezTo>
                    <a:pt x="73" y="296"/>
                    <a:pt x="75" y="291"/>
                    <a:pt x="73" y="291"/>
                  </a:cubicBezTo>
                  <a:close/>
                  <a:moveTo>
                    <a:pt x="398" y="557"/>
                  </a:moveTo>
                  <a:cubicBezTo>
                    <a:pt x="399" y="552"/>
                    <a:pt x="396" y="546"/>
                    <a:pt x="389" y="547"/>
                  </a:cubicBezTo>
                  <a:cubicBezTo>
                    <a:pt x="381" y="548"/>
                    <a:pt x="380" y="559"/>
                    <a:pt x="386" y="563"/>
                  </a:cubicBezTo>
                  <a:cubicBezTo>
                    <a:pt x="391" y="567"/>
                    <a:pt x="398" y="564"/>
                    <a:pt x="398" y="557"/>
                  </a:cubicBezTo>
                  <a:close/>
                  <a:moveTo>
                    <a:pt x="410" y="563"/>
                  </a:moveTo>
                  <a:cubicBezTo>
                    <a:pt x="415" y="567"/>
                    <a:pt x="422" y="564"/>
                    <a:pt x="423" y="557"/>
                  </a:cubicBezTo>
                  <a:cubicBezTo>
                    <a:pt x="423" y="552"/>
                    <a:pt x="420" y="546"/>
                    <a:pt x="413" y="547"/>
                  </a:cubicBezTo>
                  <a:cubicBezTo>
                    <a:pt x="405" y="548"/>
                    <a:pt x="403" y="559"/>
                    <a:pt x="410" y="563"/>
                  </a:cubicBezTo>
                  <a:close/>
                  <a:moveTo>
                    <a:pt x="87" y="287"/>
                  </a:moveTo>
                  <a:cubicBezTo>
                    <a:pt x="88" y="288"/>
                    <a:pt x="90" y="285"/>
                    <a:pt x="93" y="281"/>
                  </a:cubicBezTo>
                  <a:cubicBezTo>
                    <a:pt x="94" y="277"/>
                    <a:pt x="96" y="272"/>
                    <a:pt x="94" y="272"/>
                  </a:cubicBezTo>
                  <a:cubicBezTo>
                    <a:pt x="90" y="274"/>
                    <a:pt x="85" y="287"/>
                    <a:pt x="87" y="287"/>
                  </a:cubicBezTo>
                  <a:close/>
                  <a:moveTo>
                    <a:pt x="71" y="307"/>
                  </a:moveTo>
                  <a:cubicBezTo>
                    <a:pt x="72" y="307"/>
                    <a:pt x="74" y="304"/>
                    <a:pt x="77" y="300"/>
                  </a:cubicBezTo>
                  <a:cubicBezTo>
                    <a:pt x="78" y="296"/>
                    <a:pt x="80" y="291"/>
                    <a:pt x="78" y="291"/>
                  </a:cubicBezTo>
                  <a:cubicBezTo>
                    <a:pt x="75" y="293"/>
                    <a:pt x="70" y="306"/>
                    <a:pt x="71" y="307"/>
                  </a:cubicBezTo>
                  <a:close/>
                  <a:moveTo>
                    <a:pt x="459" y="609"/>
                  </a:moveTo>
                  <a:cubicBezTo>
                    <a:pt x="465" y="613"/>
                    <a:pt x="472" y="609"/>
                    <a:pt x="473" y="602"/>
                  </a:cubicBezTo>
                  <a:cubicBezTo>
                    <a:pt x="473" y="598"/>
                    <a:pt x="470" y="592"/>
                    <a:pt x="463" y="593"/>
                  </a:cubicBezTo>
                  <a:cubicBezTo>
                    <a:pt x="454" y="594"/>
                    <a:pt x="453" y="605"/>
                    <a:pt x="459" y="609"/>
                  </a:cubicBezTo>
                  <a:close/>
                  <a:moveTo>
                    <a:pt x="83" y="272"/>
                  </a:moveTo>
                  <a:cubicBezTo>
                    <a:pt x="80" y="274"/>
                    <a:pt x="74" y="287"/>
                    <a:pt x="75" y="287"/>
                  </a:cubicBezTo>
                  <a:cubicBezTo>
                    <a:pt x="76" y="288"/>
                    <a:pt x="79" y="285"/>
                    <a:pt x="81" y="281"/>
                  </a:cubicBezTo>
                  <a:cubicBezTo>
                    <a:pt x="83" y="277"/>
                    <a:pt x="85" y="272"/>
                    <a:pt x="83" y="272"/>
                  </a:cubicBezTo>
                  <a:close/>
                  <a:moveTo>
                    <a:pt x="390" y="501"/>
                  </a:moveTo>
                  <a:cubicBezTo>
                    <a:pt x="382" y="503"/>
                    <a:pt x="380" y="513"/>
                    <a:pt x="386" y="518"/>
                  </a:cubicBezTo>
                  <a:cubicBezTo>
                    <a:pt x="391" y="521"/>
                    <a:pt x="398" y="518"/>
                    <a:pt x="399" y="511"/>
                  </a:cubicBezTo>
                  <a:cubicBezTo>
                    <a:pt x="399" y="507"/>
                    <a:pt x="397" y="501"/>
                    <a:pt x="390" y="501"/>
                  </a:cubicBezTo>
                  <a:close/>
                  <a:moveTo>
                    <a:pt x="410" y="586"/>
                  </a:moveTo>
                  <a:cubicBezTo>
                    <a:pt x="415" y="590"/>
                    <a:pt x="422" y="586"/>
                    <a:pt x="423" y="580"/>
                  </a:cubicBezTo>
                  <a:cubicBezTo>
                    <a:pt x="423" y="575"/>
                    <a:pt x="420" y="569"/>
                    <a:pt x="413" y="570"/>
                  </a:cubicBezTo>
                  <a:cubicBezTo>
                    <a:pt x="405" y="571"/>
                    <a:pt x="404" y="582"/>
                    <a:pt x="410" y="586"/>
                  </a:cubicBezTo>
                  <a:close/>
                  <a:moveTo>
                    <a:pt x="467" y="392"/>
                  </a:moveTo>
                  <a:cubicBezTo>
                    <a:pt x="458" y="393"/>
                    <a:pt x="456" y="403"/>
                    <a:pt x="462" y="407"/>
                  </a:cubicBezTo>
                  <a:cubicBezTo>
                    <a:pt x="467" y="411"/>
                    <a:pt x="475" y="408"/>
                    <a:pt x="476" y="401"/>
                  </a:cubicBezTo>
                  <a:cubicBezTo>
                    <a:pt x="476" y="397"/>
                    <a:pt x="473" y="392"/>
                    <a:pt x="467" y="392"/>
                  </a:cubicBezTo>
                  <a:close/>
                  <a:moveTo>
                    <a:pt x="410" y="609"/>
                  </a:moveTo>
                  <a:cubicBezTo>
                    <a:pt x="416" y="613"/>
                    <a:pt x="423" y="609"/>
                    <a:pt x="423" y="602"/>
                  </a:cubicBezTo>
                  <a:cubicBezTo>
                    <a:pt x="424" y="598"/>
                    <a:pt x="420" y="592"/>
                    <a:pt x="414" y="593"/>
                  </a:cubicBezTo>
                  <a:cubicBezTo>
                    <a:pt x="405" y="594"/>
                    <a:pt x="404" y="605"/>
                    <a:pt x="410" y="609"/>
                  </a:cubicBezTo>
                  <a:close/>
                  <a:moveTo>
                    <a:pt x="434" y="563"/>
                  </a:moveTo>
                  <a:cubicBezTo>
                    <a:pt x="439" y="567"/>
                    <a:pt x="447" y="564"/>
                    <a:pt x="447" y="557"/>
                  </a:cubicBezTo>
                  <a:cubicBezTo>
                    <a:pt x="448" y="552"/>
                    <a:pt x="445" y="546"/>
                    <a:pt x="438" y="547"/>
                  </a:cubicBezTo>
                  <a:cubicBezTo>
                    <a:pt x="429" y="548"/>
                    <a:pt x="428" y="559"/>
                    <a:pt x="434" y="563"/>
                  </a:cubicBezTo>
                  <a:close/>
                  <a:moveTo>
                    <a:pt x="465" y="435"/>
                  </a:moveTo>
                  <a:cubicBezTo>
                    <a:pt x="456" y="436"/>
                    <a:pt x="454" y="446"/>
                    <a:pt x="460" y="451"/>
                  </a:cubicBezTo>
                  <a:cubicBezTo>
                    <a:pt x="466" y="454"/>
                    <a:pt x="473" y="451"/>
                    <a:pt x="474" y="444"/>
                  </a:cubicBezTo>
                  <a:cubicBezTo>
                    <a:pt x="474" y="440"/>
                    <a:pt x="472" y="434"/>
                    <a:pt x="465" y="435"/>
                  </a:cubicBezTo>
                  <a:close/>
                  <a:moveTo>
                    <a:pt x="466" y="413"/>
                  </a:moveTo>
                  <a:cubicBezTo>
                    <a:pt x="457" y="415"/>
                    <a:pt x="455" y="425"/>
                    <a:pt x="461" y="429"/>
                  </a:cubicBezTo>
                  <a:cubicBezTo>
                    <a:pt x="466" y="432"/>
                    <a:pt x="474" y="429"/>
                    <a:pt x="475" y="423"/>
                  </a:cubicBezTo>
                  <a:cubicBezTo>
                    <a:pt x="475" y="419"/>
                    <a:pt x="473" y="413"/>
                    <a:pt x="466" y="413"/>
                  </a:cubicBezTo>
                  <a:close/>
                  <a:moveTo>
                    <a:pt x="88" y="272"/>
                  </a:moveTo>
                  <a:cubicBezTo>
                    <a:pt x="85" y="274"/>
                    <a:pt x="79" y="286"/>
                    <a:pt x="81" y="287"/>
                  </a:cubicBezTo>
                  <a:cubicBezTo>
                    <a:pt x="81" y="288"/>
                    <a:pt x="84" y="285"/>
                    <a:pt x="86" y="281"/>
                  </a:cubicBezTo>
                  <a:cubicBezTo>
                    <a:pt x="88" y="277"/>
                    <a:pt x="90" y="272"/>
                    <a:pt x="88" y="272"/>
                  </a:cubicBezTo>
                  <a:close/>
                  <a:moveTo>
                    <a:pt x="456" y="339"/>
                  </a:moveTo>
                  <a:cubicBezTo>
                    <a:pt x="456" y="335"/>
                    <a:pt x="454" y="330"/>
                    <a:pt x="448" y="330"/>
                  </a:cubicBezTo>
                  <a:cubicBezTo>
                    <a:pt x="439" y="332"/>
                    <a:pt x="437" y="341"/>
                    <a:pt x="443" y="345"/>
                  </a:cubicBezTo>
                  <a:cubicBezTo>
                    <a:pt x="447" y="348"/>
                    <a:pt x="454" y="345"/>
                    <a:pt x="456" y="339"/>
                  </a:cubicBezTo>
                  <a:close/>
                  <a:moveTo>
                    <a:pt x="443" y="392"/>
                  </a:moveTo>
                  <a:cubicBezTo>
                    <a:pt x="434" y="393"/>
                    <a:pt x="432" y="403"/>
                    <a:pt x="438" y="407"/>
                  </a:cubicBezTo>
                  <a:cubicBezTo>
                    <a:pt x="443" y="411"/>
                    <a:pt x="450" y="408"/>
                    <a:pt x="451" y="401"/>
                  </a:cubicBezTo>
                  <a:cubicBezTo>
                    <a:pt x="452" y="397"/>
                    <a:pt x="449" y="392"/>
                    <a:pt x="443" y="392"/>
                  </a:cubicBezTo>
                  <a:close/>
                  <a:moveTo>
                    <a:pt x="459" y="563"/>
                  </a:moveTo>
                  <a:cubicBezTo>
                    <a:pt x="464" y="567"/>
                    <a:pt x="472" y="564"/>
                    <a:pt x="472" y="557"/>
                  </a:cubicBezTo>
                  <a:cubicBezTo>
                    <a:pt x="473" y="552"/>
                    <a:pt x="470" y="546"/>
                    <a:pt x="463" y="547"/>
                  </a:cubicBezTo>
                  <a:cubicBezTo>
                    <a:pt x="454" y="548"/>
                    <a:pt x="453" y="559"/>
                    <a:pt x="459" y="563"/>
                  </a:cubicBezTo>
                  <a:close/>
                  <a:moveTo>
                    <a:pt x="435" y="609"/>
                  </a:moveTo>
                  <a:cubicBezTo>
                    <a:pt x="440" y="613"/>
                    <a:pt x="447" y="609"/>
                    <a:pt x="448" y="602"/>
                  </a:cubicBezTo>
                  <a:cubicBezTo>
                    <a:pt x="448" y="598"/>
                    <a:pt x="445" y="592"/>
                    <a:pt x="438" y="593"/>
                  </a:cubicBezTo>
                  <a:cubicBezTo>
                    <a:pt x="430" y="594"/>
                    <a:pt x="428" y="605"/>
                    <a:pt x="435" y="609"/>
                  </a:cubicBezTo>
                  <a:close/>
                  <a:moveTo>
                    <a:pt x="389" y="524"/>
                  </a:moveTo>
                  <a:cubicBezTo>
                    <a:pt x="381" y="525"/>
                    <a:pt x="380" y="536"/>
                    <a:pt x="386" y="540"/>
                  </a:cubicBezTo>
                  <a:cubicBezTo>
                    <a:pt x="391" y="544"/>
                    <a:pt x="398" y="541"/>
                    <a:pt x="398" y="534"/>
                  </a:cubicBezTo>
                  <a:cubicBezTo>
                    <a:pt x="399" y="529"/>
                    <a:pt x="396" y="524"/>
                    <a:pt x="389" y="524"/>
                  </a:cubicBezTo>
                  <a:close/>
                  <a:moveTo>
                    <a:pt x="459" y="586"/>
                  </a:moveTo>
                  <a:cubicBezTo>
                    <a:pt x="464" y="590"/>
                    <a:pt x="472" y="586"/>
                    <a:pt x="472" y="580"/>
                  </a:cubicBezTo>
                  <a:cubicBezTo>
                    <a:pt x="473" y="575"/>
                    <a:pt x="470" y="569"/>
                    <a:pt x="463" y="570"/>
                  </a:cubicBezTo>
                  <a:cubicBezTo>
                    <a:pt x="454" y="571"/>
                    <a:pt x="453" y="582"/>
                    <a:pt x="459" y="586"/>
                  </a:cubicBezTo>
                  <a:close/>
                  <a:moveTo>
                    <a:pt x="442" y="413"/>
                  </a:moveTo>
                  <a:cubicBezTo>
                    <a:pt x="433" y="415"/>
                    <a:pt x="431" y="425"/>
                    <a:pt x="437" y="429"/>
                  </a:cubicBezTo>
                  <a:cubicBezTo>
                    <a:pt x="442" y="432"/>
                    <a:pt x="449" y="429"/>
                    <a:pt x="450" y="423"/>
                  </a:cubicBezTo>
                  <a:cubicBezTo>
                    <a:pt x="451" y="419"/>
                    <a:pt x="448" y="413"/>
                    <a:pt x="442" y="413"/>
                  </a:cubicBezTo>
                  <a:close/>
                  <a:moveTo>
                    <a:pt x="391" y="479"/>
                  </a:moveTo>
                  <a:cubicBezTo>
                    <a:pt x="382" y="480"/>
                    <a:pt x="381" y="491"/>
                    <a:pt x="386" y="495"/>
                  </a:cubicBezTo>
                  <a:cubicBezTo>
                    <a:pt x="391" y="499"/>
                    <a:pt x="399" y="495"/>
                    <a:pt x="399" y="489"/>
                  </a:cubicBezTo>
                  <a:cubicBezTo>
                    <a:pt x="400" y="484"/>
                    <a:pt x="397" y="478"/>
                    <a:pt x="391" y="479"/>
                  </a:cubicBezTo>
                  <a:close/>
                  <a:moveTo>
                    <a:pt x="91" y="268"/>
                  </a:moveTo>
                  <a:cubicBezTo>
                    <a:pt x="91" y="269"/>
                    <a:pt x="94" y="266"/>
                    <a:pt x="96" y="262"/>
                  </a:cubicBezTo>
                  <a:cubicBezTo>
                    <a:pt x="99" y="259"/>
                    <a:pt x="101" y="254"/>
                    <a:pt x="99" y="254"/>
                  </a:cubicBezTo>
                  <a:cubicBezTo>
                    <a:pt x="95" y="256"/>
                    <a:pt x="89" y="268"/>
                    <a:pt x="91" y="268"/>
                  </a:cubicBezTo>
                  <a:close/>
                  <a:moveTo>
                    <a:pt x="386" y="586"/>
                  </a:moveTo>
                  <a:cubicBezTo>
                    <a:pt x="391" y="590"/>
                    <a:pt x="398" y="586"/>
                    <a:pt x="399" y="580"/>
                  </a:cubicBezTo>
                  <a:cubicBezTo>
                    <a:pt x="399" y="575"/>
                    <a:pt x="396" y="569"/>
                    <a:pt x="389" y="570"/>
                  </a:cubicBezTo>
                  <a:cubicBezTo>
                    <a:pt x="381" y="571"/>
                    <a:pt x="380" y="582"/>
                    <a:pt x="386" y="586"/>
                  </a:cubicBezTo>
                  <a:close/>
                  <a:moveTo>
                    <a:pt x="386" y="609"/>
                  </a:moveTo>
                  <a:cubicBezTo>
                    <a:pt x="392" y="613"/>
                    <a:pt x="399" y="609"/>
                    <a:pt x="399" y="602"/>
                  </a:cubicBezTo>
                  <a:cubicBezTo>
                    <a:pt x="399" y="598"/>
                    <a:pt x="396" y="592"/>
                    <a:pt x="390" y="593"/>
                  </a:cubicBezTo>
                  <a:cubicBezTo>
                    <a:pt x="381" y="594"/>
                    <a:pt x="380" y="605"/>
                    <a:pt x="386" y="609"/>
                  </a:cubicBezTo>
                  <a:close/>
                  <a:moveTo>
                    <a:pt x="484" y="563"/>
                  </a:moveTo>
                  <a:cubicBezTo>
                    <a:pt x="490" y="567"/>
                    <a:pt x="497" y="564"/>
                    <a:pt x="498" y="557"/>
                  </a:cubicBezTo>
                  <a:cubicBezTo>
                    <a:pt x="498" y="552"/>
                    <a:pt x="495" y="546"/>
                    <a:pt x="488" y="547"/>
                  </a:cubicBezTo>
                  <a:cubicBezTo>
                    <a:pt x="479" y="548"/>
                    <a:pt x="478" y="559"/>
                    <a:pt x="484" y="563"/>
                  </a:cubicBezTo>
                  <a:close/>
                  <a:moveTo>
                    <a:pt x="772" y="67"/>
                  </a:moveTo>
                  <a:cubicBezTo>
                    <a:pt x="770" y="65"/>
                    <a:pt x="765" y="62"/>
                    <a:pt x="763" y="62"/>
                  </a:cubicBezTo>
                  <a:cubicBezTo>
                    <a:pt x="761" y="63"/>
                    <a:pt x="766" y="67"/>
                    <a:pt x="770" y="70"/>
                  </a:cubicBezTo>
                  <a:cubicBezTo>
                    <a:pt x="773" y="71"/>
                    <a:pt x="775" y="72"/>
                    <a:pt x="774" y="70"/>
                  </a:cubicBezTo>
                  <a:cubicBezTo>
                    <a:pt x="774" y="69"/>
                    <a:pt x="773" y="68"/>
                    <a:pt x="772" y="67"/>
                  </a:cubicBezTo>
                  <a:close/>
                  <a:moveTo>
                    <a:pt x="765" y="59"/>
                  </a:moveTo>
                  <a:cubicBezTo>
                    <a:pt x="768" y="60"/>
                    <a:pt x="769" y="61"/>
                    <a:pt x="769" y="59"/>
                  </a:cubicBezTo>
                  <a:cubicBezTo>
                    <a:pt x="769" y="59"/>
                    <a:pt x="768" y="58"/>
                    <a:pt x="766" y="56"/>
                  </a:cubicBezTo>
                  <a:cubicBezTo>
                    <a:pt x="763" y="54"/>
                    <a:pt x="759" y="52"/>
                    <a:pt x="757" y="52"/>
                  </a:cubicBezTo>
                  <a:cubicBezTo>
                    <a:pt x="755" y="53"/>
                    <a:pt x="760" y="57"/>
                    <a:pt x="765" y="59"/>
                  </a:cubicBezTo>
                  <a:close/>
                  <a:moveTo>
                    <a:pt x="777" y="59"/>
                  </a:moveTo>
                  <a:cubicBezTo>
                    <a:pt x="776" y="59"/>
                    <a:pt x="775" y="58"/>
                    <a:pt x="773" y="56"/>
                  </a:cubicBezTo>
                  <a:cubicBezTo>
                    <a:pt x="770" y="54"/>
                    <a:pt x="766" y="52"/>
                    <a:pt x="764" y="52"/>
                  </a:cubicBezTo>
                  <a:cubicBezTo>
                    <a:pt x="763" y="53"/>
                    <a:pt x="769" y="58"/>
                    <a:pt x="774" y="59"/>
                  </a:cubicBezTo>
                  <a:cubicBezTo>
                    <a:pt x="776" y="60"/>
                    <a:pt x="777" y="60"/>
                    <a:pt x="777" y="59"/>
                  </a:cubicBezTo>
                  <a:close/>
                  <a:moveTo>
                    <a:pt x="776" y="79"/>
                  </a:moveTo>
                  <a:cubicBezTo>
                    <a:pt x="774" y="76"/>
                    <a:pt x="769" y="73"/>
                    <a:pt x="767" y="73"/>
                  </a:cubicBezTo>
                  <a:cubicBezTo>
                    <a:pt x="764" y="74"/>
                    <a:pt x="769" y="79"/>
                    <a:pt x="773" y="81"/>
                  </a:cubicBezTo>
                  <a:cubicBezTo>
                    <a:pt x="777" y="83"/>
                    <a:pt x="779" y="83"/>
                    <a:pt x="778" y="81"/>
                  </a:cubicBezTo>
                  <a:cubicBezTo>
                    <a:pt x="778" y="81"/>
                    <a:pt x="777" y="80"/>
                    <a:pt x="776" y="79"/>
                  </a:cubicBezTo>
                  <a:close/>
                  <a:moveTo>
                    <a:pt x="809" y="120"/>
                  </a:moveTo>
                  <a:cubicBezTo>
                    <a:pt x="812" y="122"/>
                    <a:pt x="814" y="122"/>
                    <a:pt x="814" y="119"/>
                  </a:cubicBezTo>
                  <a:cubicBezTo>
                    <a:pt x="814" y="119"/>
                    <a:pt x="813" y="118"/>
                    <a:pt x="812" y="117"/>
                  </a:cubicBezTo>
                  <a:cubicBezTo>
                    <a:pt x="810" y="114"/>
                    <a:pt x="806" y="110"/>
                    <a:pt x="803" y="111"/>
                  </a:cubicBezTo>
                  <a:cubicBezTo>
                    <a:pt x="800" y="111"/>
                    <a:pt x="804" y="117"/>
                    <a:pt x="809" y="120"/>
                  </a:cubicBezTo>
                  <a:close/>
                  <a:moveTo>
                    <a:pt x="951" y="268"/>
                  </a:moveTo>
                  <a:cubicBezTo>
                    <a:pt x="954" y="270"/>
                    <a:pt x="956" y="267"/>
                    <a:pt x="955" y="263"/>
                  </a:cubicBezTo>
                  <a:cubicBezTo>
                    <a:pt x="955" y="263"/>
                    <a:pt x="954" y="262"/>
                    <a:pt x="954" y="262"/>
                  </a:cubicBezTo>
                  <a:cubicBezTo>
                    <a:pt x="953" y="258"/>
                    <a:pt x="949" y="254"/>
                    <a:pt x="946" y="254"/>
                  </a:cubicBezTo>
                  <a:cubicBezTo>
                    <a:pt x="941" y="255"/>
                    <a:pt x="946" y="265"/>
                    <a:pt x="951" y="268"/>
                  </a:cubicBezTo>
                  <a:close/>
                  <a:moveTo>
                    <a:pt x="959" y="287"/>
                  </a:moveTo>
                  <a:cubicBezTo>
                    <a:pt x="963" y="289"/>
                    <a:pt x="965" y="286"/>
                    <a:pt x="963" y="281"/>
                  </a:cubicBezTo>
                  <a:cubicBezTo>
                    <a:pt x="963" y="281"/>
                    <a:pt x="963" y="281"/>
                    <a:pt x="963" y="281"/>
                  </a:cubicBezTo>
                  <a:cubicBezTo>
                    <a:pt x="961" y="277"/>
                    <a:pt x="958" y="272"/>
                    <a:pt x="954" y="272"/>
                  </a:cubicBezTo>
                  <a:cubicBezTo>
                    <a:pt x="950" y="274"/>
                    <a:pt x="954" y="284"/>
                    <a:pt x="959" y="287"/>
                  </a:cubicBezTo>
                  <a:close/>
                  <a:moveTo>
                    <a:pt x="430" y="16"/>
                  </a:moveTo>
                  <a:cubicBezTo>
                    <a:pt x="431" y="17"/>
                    <a:pt x="436" y="15"/>
                    <a:pt x="438" y="14"/>
                  </a:cubicBezTo>
                  <a:cubicBezTo>
                    <a:pt x="439" y="14"/>
                    <a:pt x="443" y="12"/>
                    <a:pt x="443" y="11"/>
                  </a:cubicBezTo>
                  <a:cubicBezTo>
                    <a:pt x="443" y="11"/>
                    <a:pt x="443" y="11"/>
                    <a:pt x="443" y="11"/>
                  </a:cubicBezTo>
                  <a:cubicBezTo>
                    <a:pt x="443" y="11"/>
                    <a:pt x="443" y="11"/>
                    <a:pt x="443" y="11"/>
                  </a:cubicBezTo>
                  <a:cubicBezTo>
                    <a:pt x="439" y="12"/>
                    <a:pt x="430" y="16"/>
                    <a:pt x="430" y="16"/>
                  </a:cubicBezTo>
                  <a:close/>
                  <a:moveTo>
                    <a:pt x="912" y="197"/>
                  </a:moveTo>
                  <a:cubicBezTo>
                    <a:pt x="915" y="199"/>
                    <a:pt x="916" y="197"/>
                    <a:pt x="915" y="194"/>
                  </a:cubicBezTo>
                  <a:cubicBezTo>
                    <a:pt x="915" y="194"/>
                    <a:pt x="915" y="193"/>
                    <a:pt x="914" y="192"/>
                  </a:cubicBezTo>
                  <a:cubicBezTo>
                    <a:pt x="912" y="189"/>
                    <a:pt x="908" y="185"/>
                    <a:pt x="905" y="185"/>
                  </a:cubicBezTo>
                  <a:cubicBezTo>
                    <a:pt x="901" y="186"/>
                    <a:pt x="907" y="195"/>
                    <a:pt x="912" y="197"/>
                  </a:cubicBezTo>
                  <a:close/>
                  <a:moveTo>
                    <a:pt x="923" y="214"/>
                  </a:moveTo>
                  <a:cubicBezTo>
                    <a:pt x="926" y="216"/>
                    <a:pt x="927" y="214"/>
                    <a:pt x="926" y="211"/>
                  </a:cubicBezTo>
                  <a:cubicBezTo>
                    <a:pt x="926" y="210"/>
                    <a:pt x="925" y="209"/>
                    <a:pt x="925" y="209"/>
                  </a:cubicBezTo>
                  <a:cubicBezTo>
                    <a:pt x="923" y="205"/>
                    <a:pt x="919" y="201"/>
                    <a:pt x="916" y="201"/>
                  </a:cubicBezTo>
                  <a:cubicBezTo>
                    <a:pt x="912" y="203"/>
                    <a:pt x="918" y="212"/>
                    <a:pt x="923" y="214"/>
                  </a:cubicBezTo>
                  <a:close/>
                  <a:moveTo>
                    <a:pt x="453" y="8"/>
                  </a:moveTo>
                  <a:cubicBezTo>
                    <a:pt x="454" y="7"/>
                    <a:pt x="458" y="6"/>
                    <a:pt x="459" y="5"/>
                  </a:cubicBezTo>
                  <a:cubicBezTo>
                    <a:pt x="459" y="5"/>
                    <a:pt x="459" y="5"/>
                    <a:pt x="459" y="5"/>
                  </a:cubicBezTo>
                  <a:cubicBezTo>
                    <a:pt x="459" y="5"/>
                    <a:pt x="458" y="5"/>
                    <a:pt x="458" y="5"/>
                  </a:cubicBezTo>
                  <a:cubicBezTo>
                    <a:pt x="456" y="6"/>
                    <a:pt x="447" y="9"/>
                    <a:pt x="446" y="10"/>
                  </a:cubicBezTo>
                  <a:cubicBezTo>
                    <a:pt x="446" y="10"/>
                    <a:pt x="446" y="10"/>
                    <a:pt x="446" y="10"/>
                  </a:cubicBezTo>
                  <a:cubicBezTo>
                    <a:pt x="447" y="10"/>
                    <a:pt x="452" y="8"/>
                    <a:pt x="453" y="8"/>
                  </a:cubicBezTo>
                  <a:close/>
                  <a:moveTo>
                    <a:pt x="933" y="232"/>
                  </a:moveTo>
                  <a:cubicBezTo>
                    <a:pt x="936" y="233"/>
                    <a:pt x="937" y="232"/>
                    <a:pt x="936" y="228"/>
                  </a:cubicBezTo>
                  <a:cubicBezTo>
                    <a:pt x="936" y="227"/>
                    <a:pt x="935" y="227"/>
                    <a:pt x="935" y="226"/>
                  </a:cubicBezTo>
                  <a:cubicBezTo>
                    <a:pt x="933" y="223"/>
                    <a:pt x="929" y="218"/>
                    <a:pt x="926" y="218"/>
                  </a:cubicBezTo>
                  <a:cubicBezTo>
                    <a:pt x="922" y="220"/>
                    <a:pt x="928" y="229"/>
                    <a:pt x="933" y="232"/>
                  </a:cubicBezTo>
                  <a:close/>
                  <a:moveTo>
                    <a:pt x="942" y="250"/>
                  </a:moveTo>
                  <a:cubicBezTo>
                    <a:pt x="945" y="251"/>
                    <a:pt x="947" y="249"/>
                    <a:pt x="945" y="245"/>
                  </a:cubicBezTo>
                  <a:cubicBezTo>
                    <a:pt x="945" y="245"/>
                    <a:pt x="945" y="244"/>
                    <a:pt x="945" y="244"/>
                  </a:cubicBezTo>
                  <a:cubicBezTo>
                    <a:pt x="943" y="240"/>
                    <a:pt x="939" y="236"/>
                    <a:pt x="936" y="236"/>
                  </a:cubicBezTo>
                  <a:cubicBezTo>
                    <a:pt x="932" y="237"/>
                    <a:pt x="937" y="247"/>
                    <a:pt x="942" y="250"/>
                  </a:cubicBezTo>
                  <a:close/>
                  <a:moveTo>
                    <a:pt x="469" y="2"/>
                  </a:moveTo>
                  <a:cubicBezTo>
                    <a:pt x="471" y="2"/>
                    <a:pt x="475" y="1"/>
                    <a:pt x="475" y="0"/>
                  </a:cubicBezTo>
                  <a:cubicBezTo>
                    <a:pt x="475" y="0"/>
                    <a:pt x="474" y="0"/>
                    <a:pt x="474" y="0"/>
                  </a:cubicBezTo>
                  <a:cubicBezTo>
                    <a:pt x="472" y="1"/>
                    <a:pt x="463" y="3"/>
                    <a:pt x="462" y="4"/>
                  </a:cubicBezTo>
                  <a:cubicBezTo>
                    <a:pt x="462" y="4"/>
                    <a:pt x="462" y="4"/>
                    <a:pt x="462" y="4"/>
                  </a:cubicBezTo>
                  <a:cubicBezTo>
                    <a:pt x="463" y="4"/>
                    <a:pt x="467" y="3"/>
                    <a:pt x="469" y="2"/>
                  </a:cubicBezTo>
                  <a:close/>
                  <a:moveTo>
                    <a:pt x="1065" y="311"/>
                  </a:moveTo>
                  <a:cubicBezTo>
                    <a:pt x="1063" y="313"/>
                    <a:pt x="1071" y="326"/>
                    <a:pt x="1072" y="326"/>
                  </a:cubicBezTo>
                  <a:cubicBezTo>
                    <a:pt x="1072" y="326"/>
                    <a:pt x="1071" y="323"/>
                    <a:pt x="1070" y="319"/>
                  </a:cubicBezTo>
                  <a:cubicBezTo>
                    <a:pt x="1068" y="315"/>
                    <a:pt x="1065" y="310"/>
                    <a:pt x="1065" y="311"/>
                  </a:cubicBezTo>
                  <a:close/>
                  <a:moveTo>
                    <a:pt x="839" y="107"/>
                  </a:moveTo>
                  <a:cubicBezTo>
                    <a:pt x="841" y="108"/>
                    <a:pt x="842" y="108"/>
                    <a:pt x="842" y="107"/>
                  </a:cubicBezTo>
                  <a:cubicBezTo>
                    <a:pt x="841" y="106"/>
                    <a:pt x="840" y="105"/>
                    <a:pt x="839" y="103"/>
                  </a:cubicBezTo>
                  <a:cubicBezTo>
                    <a:pt x="836" y="101"/>
                    <a:pt x="832" y="97"/>
                    <a:pt x="830" y="98"/>
                  </a:cubicBezTo>
                  <a:cubicBezTo>
                    <a:pt x="827" y="98"/>
                    <a:pt x="834" y="105"/>
                    <a:pt x="839" y="107"/>
                  </a:cubicBezTo>
                  <a:close/>
                  <a:moveTo>
                    <a:pt x="1068" y="311"/>
                  </a:moveTo>
                  <a:cubicBezTo>
                    <a:pt x="1068" y="311"/>
                    <a:pt x="1068" y="311"/>
                    <a:pt x="1067" y="311"/>
                  </a:cubicBezTo>
                  <a:cubicBezTo>
                    <a:pt x="1067" y="312"/>
                    <a:pt x="1073" y="326"/>
                    <a:pt x="1075" y="326"/>
                  </a:cubicBezTo>
                  <a:cubicBezTo>
                    <a:pt x="1075" y="326"/>
                    <a:pt x="1075" y="326"/>
                    <a:pt x="1075" y="326"/>
                  </a:cubicBezTo>
                  <a:cubicBezTo>
                    <a:pt x="1075" y="325"/>
                    <a:pt x="1073" y="320"/>
                    <a:pt x="1072" y="319"/>
                  </a:cubicBezTo>
                  <a:cubicBezTo>
                    <a:pt x="1071" y="316"/>
                    <a:pt x="1068" y="311"/>
                    <a:pt x="1068" y="311"/>
                  </a:cubicBezTo>
                  <a:close/>
                  <a:moveTo>
                    <a:pt x="470" y="4"/>
                  </a:moveTo>
                  <a:cubicBezTo>
                    <a:pt x="471" y="4"/>
                    <a:pt x="475" y="3"/>
                    <a:pt x="477" y="2"/>
                  </a:cubicBezTo>
                  <a:cubicBezTo>
                    <a:pt x="478" y="2"/>
                    <a:pt x="481" y="1"/>
                    <a:pt x="482" y="0"/>
                  </a:cubicBezTo>
                  <a:cubicBezTo>
                    <a:pt x="482" y="0"/>
                    <a:pt x="482" y="0"/>
                    <a:pt x="482" y="0"/>
                  </a:cubicBezTo>
                  <a:cubicBezTo>
                    <a:pt x="482" y="0"/>
                    <a:pt x="482" y="0"/>
                    <a:pt x="482" y="0"/>
                  </a:cubicBezTo>
                  <a:cubicBezTo>
                    <a:pt x="479" y="1"/>
                    <a:pt x="471" y="3"/>
                    <a:pt x="470" y="4"/>
                  </a:cubicBezTo>
                  <a:cubicBezTo>
                    <a:pt x="470" y="4"/>
                    <a:pt x="470" y="4"/>
                    <a:pt x="470" y="4"/>
                  </a:cubicBezTo>
                  <a:close/>
                  <a:moveTo>
                    <a:pt x="466" y="4"/>
                  </a:moveTo>
                  <a:cubicBezTo>
                    <a:pt x="467" y="4"/>
                    <a:pt x="471" y="3"/>
                    <a:pt x="473" y="2"/>
                  </a:cubicBezTo>
                  <a:cubicBezTo>
                    <a:pt x="474" y="2"/>
                    <a:pt x="478" y="1"/>
                    <a:pt x="478" y="0"/>
                  </a:cubicBezTo>
                  <a:cubicBezTo>
                    <a:pt x="478" y="0"/>
                    <a:pt x="478" y="0"/>
                    <a:pt x="478" y="0"/>
                  </a:cubicBezTo>
                  <a:cubicBezTo>
                    <a:pt x="478" y="0"/>
                    <a:pt x="478" y="0"/>
                    <a:pt x="478" y="0"/>
                  </a:cubicBezTo>
                  <a:cubicBezTo>
                    <a:pt x="475" y="1"/>
                    <a:pt x="467" y="3"/>
                    <a:pt x="466" y="4"/>
                  </a:cubicBezTo>
                  <a:cubicBezTo>
                    <a:pt x="466" y="4"/>
                    <a:pt x="466" y="4"/>
                    <a:pt x="466" y="4"/>
                  </a:cubicBezTo>
                  <a:close/>
                  <a:moveTo>
                    <a:pt x="795" y="134"/>
                  </a:moveTo>
                  <a:cubicBezTo>
                    <a:pt x="799" y="137"/>
                    <a:pt x="801" y="136"/>
                    <a:pt x="801" y="133"/>
                  </a:cubicBezTo>
                  <a:cubicBezTo>
                    <a:pt x="800" y="132"/>
                    <a:pt x="800" y="131"/>
                    <a:pt x="800" y="130"/>
                  </a:cubicBezTo>
                  <a:cubicBezTo>
                    <a:pt x="798" y="128"/>
                    <a:pt x="794" y="124"/>
                    <a:pt x="790" y="124"/>
                  </a:cubicBezTo>
                  <a:cubicBezTo>
                    <a:pt x="787" y="125"/>
                    <a:pt x="790" y="131"/>
                    <a:pt x="795" y="134"/>
                  </a:cubicBezTo>
                  <a:close/>
                  <a:moveTo>
                    <a:pt x="802" y="98"/>
                  </a:moveTo>
                  <a:cubicBezTo>
                    <a:pt x="799" y="98"/>
                    <a:pt x="804" y="104"/>
                    <a:pt x="808" y="107"/>
                  </a:cubicBezTo>
                  <a:cubicBezTo>
                    <a:pt x="811" y="108"/>
                    <a:pt x="813" y="108"/>
                    <a:pt x="813" y="106"/>
                  </a:cubicBezTo>
                  <a:cubicBezTo>
                    <a:pt x="813" y="106"/>
                    <a:pt x="812" y="105"/>
                    <a:pt x="811" y="103"/>
                  </a:cubicBezTo>
                  <a:cubicBezTo>
                    <a:pt x="809" y="101"/>
                    <a:pt x="804" y="97"/>
                    <a:pt x="802" y="98"/>
                  </a:cubicBezTo>
                  <a:close/>
                  <a:moveTo>
                    <a:pt x="819" y="107"/>
                  </a:moveTo>
                  <a:cubicBezTo>
                    <a:pt x="822" y="108"/>
                    <a:pt x="823" y="108"/>
                    <a:pt x="823" y="106"/>
                  </a:cubicBezTo>
                  <a:cubicBezTo>
                    <a:pt x="823" y="106"/>
                    <a:pt x="822" y="105"/>
                    <a:pt x="821" y="103"/>
                  </a:cubicBezTo>
                  <a:cubicBezTo>
                    <a:pt x="818" y="101"/>
                    <a:pt x="814" y="97"/>
                    <a:pt x="811" y="98"/>
                  </a:cubicBezTo>
                  <a:cubicBezTo>
                    <a:pt x="809" y="98"/>
                    <a:pt x="814" y="105"/>
                    <a:pt x="819" y="107"/>
                  </a:cubicBezTo>
                  <a:close/>
                  <a:moveTo>
                    <a:pt x="816" y="94"/>
                  </a:moveTo>
                  <a:cubicBezTo>
                    <a:pt x="818" y="95"/>
                    <a:pt x="819" y="95"/>
                    <a:pt x="819" y="94"/>
                  </a:cubicBezTo>
                  <a:cubicBezTo>
                    <a:pt x="819" y="93"/>
                    <a:pt x="818" y="92"/>
                    <a:pt x="816" y="91"/>
                  </a:cubicBezTo>
                  <a:cubicBezTo>
                    <a:pt x="814" y="88"/>
                    <a:pt x="809" y="85"/>
                    <a:pt x="807" y="85"/>
                  </a:cubicBezTo>
                  <a:cubicBezTo>
                    <a:pt x="805" y="86"/>
                    <a:pt x="811" y="92"/>
                    <a:pt x="816" y="94"/>
                  </a:cubicBezTo>
                  <a:close/>
                  <a:moveTo>
                    <a:pt x="792" y="111"/>
                  </a:moveTo>
                  <a:cubicBezTo>
                    <a:pt x="789" y="111"/>
                    <a:pt x="792" y="117"/>
                    <a:pt x="797" y="120"/>
                  </a:cubicBezTo>
                  <a:cubicBezTo>
                    <a:pt x="801" y="122"/>
                    <a:pt x="803" y="122"/>
                    <a:pt x="802" y="119"/>
                  </a:cubicBezTo>
                  <a:cubicBezTo>
                    <a:pt x="802" y="118"/>
                    <a:pt x="802" y="117"/>
                    <a:pt x="801" y="117"/>
                  </a:cubicBezTo>
                  <a:cubicBezTo>
                    <a:pt x="799" y="114"/>
                    <a:pt x="795" y="110"/>
                    <a:pt x="792" y="111"/>
                  </a:cubicBezTo>
                  <a:close/>
                  <a:moveTo>
                    <a:pt x="789" y="117"/>
                  </a:moveTo>
                  <a:cubicBezTo>
                    <a:pt x="787" y="114"/>
                    <a:pt x="783" y="110"/>
                    <a:pt x="780" y="111"/>
                  </a:cubicBezTo>
                  <a:cubicBezTo>
                    <a:pt x="777" y="111"/>
                    <a:pt x="780" y="117"/>
                    <a:pt x="785" y="120"/>
                  </a:cubicBezTo>
                  <a:cubicBezTo>
                    <a:pt x="789" y="122"/>
                    <a:pt x="791" y="122"/>
                    <a:pt x="790" y="119"/>
                  </a:cubicBezTo>
                  <a:cubicBezTo>
                    <a:pt x="790" y="118"/>
                    <a:pt x="790" y="117"/>
                    <a:pt x="789" y="117"/>
                  </a:cubicBezTo>
                  <a:close/>
                  <a:moveTo>
                    <a:pt x="847" y="300"/>
                  </a:moveTo>
                  <a:cubicBezTo>
                    <a:pt x="846" y="296"/>
                    <a:pt x="843" y="291"/>
                    <a:pt x="838" y="291"/>
                  </a:cubicBezTo>
                  <a:cubicBezTo>
                    <a:pt x="832" y="293"/>
                    <a:pt x="833" y="302"/>
                    <a:pt x="839" y="305"/>
                  </a:cubicBezTo>
                  <a:cubicBezTo>
                    <a:pt x="844" y="309"/>
                    <a:pt x="848" y="305"/>
                    <a:pt x="847" y="300"/>
                  </a:cubicBezTo>
                  <a:close/>
                  <a:moveTo>
                    <a:pt x="779" y="103"/>
                  </a:moveTo>
                  <a:cubicBezTo>
                    <a:pt x="777" y="101"/>
                    <a:pt x="773" y="97"/>
                    <a:pt x="770" y="98"/>
                  </a:cubicBezTo>
                  <a:cubicBezTo>
                    <a:pt x="766" y="98"/>
                    <a:pt x="770" y="104"/>
                    <a:pt x="774" y="106"/>
                  </a:cubicBezTo>
                  <a:cubicBezTo>
                    <a:pt x="778" y="109"/>
                    <a:pt x="780" y="108"/>
                    <a:pt x="780" y="106"/>
                  </a:cubicBezTo>
                  <a:cubicBezTo>
                    <a:pt x="780" y="105"/>
                    <a:pt x="780" y="104"/>
                    <a:pt x="779" y="103"/>
                  </a:cubicBezTo>
                  <a:close/>
                  <a:moveTo>
                    <a:pt x="893" y="179"/>
                  </a:moveTo>
                  <a:cubicBezTo>
                    <a:pt x="893" y="178"/>
                    <a:pt x="892" y="177"/>
                    <a:pt x="892" y="176"/>
                  </a:cubicBezTo>
                  <a:cubicBezTo>
                    <a:pt x="890" y="173"/>
                    <a:pt x="885" y="169"/>
                    <a:pt x="883" y="169"/>
                  </a:cubicBezTo>
                  <a:cubicBezTo>
                    <a:pt x="879" y="170"/>
                    <a:pt x="884" y="178"/>
                    <a:pt x="889" y="181"/>
                  </a:cubicBezTo>
                  <a:cubicBezTo>
                    <a:pt x="892" y="182"/>
                    <a:pt x="894" y="181"/>
                    <a:pt x="893" y="179"/>
                  </a:cubicBezTo>
                  <a:close/>
                  <a:moveTo>
                    <a:pt x="892" y="194"/>
                  </a:moveTo>
                  <a:cubicBezTo>
                    <a:pt x="892" y="194"/>
                    <a:pt x="891" y="193"/>
                    <a:pt x="891" y="192"/>
                  </a:cubicBezTo>
                  <a:cubicBezTo>
                    <a:pt x="889" y="189"/>
                    <a:pt x="885" y="185"/>
                    <a:pt x="882" y="185"/>
                  </a:cubicBezTo>
                  <a:cubicBezTo>
                    <a:pt x="878" y="186"/>
                    <a:pt x="882" y="194"/>
                    <a:pt x="888" y="197"/>
                  </a:cubicBezTo>
                  <a:cubicBezTo>
                    <a:pt x="891" y="199"/>
                    <a:pt x="893" y="198"/>
                    <a:pt x="892" y="194"/>
                  </a:cubicBezTo>
                  <a:close/>
                  <a:moveTo>
                    <a:pt x="865" y="300"/>
                  </a:moveTo>
                  <a:cubicBezTo>
                    <a:pt x="864" y="296"/>
                    <a:pt x="860" y="291"/>
                    <a:pt x="855" y="291"/>
                  </a:cubicBezTo>
                  <a:cubicBezTo>
                    <a:pt x="850" y="293"/>
                    <a:pt x="851" y="302"/>
                    <a:pt x="857" y="305"/>
                  </a:cubicBezTo>
                  <a:cubicBezTo>
                    <a:pt x="862" y="309"/>
                    <a:pt x="866" y="305"/>
                    <a:pt x="865" y="300"/>
                  </a:cubicBezTo>
                  <a:close/>
                  <a:moveTo>
                    <a:pt x="889" y="211"/>
                  </a:moveTo>
                  <a:cubicBezTo>
                    <a:pt x="889" y="211"/>
                    <a:pt x="889" y="210"/>
                    <a:pt x="888" y="209"/>
                  </a:cubicBezTo>
                  <a:cubicBezTo>
                    <a:pt x="886" y="205"/>
                    <a:pt x="882" y="201"/>
                    <a:pt x="879" y="201"/>
                  </a:cubicBezTo>
                  <a:cubicBezTo>
                    <a:pt x="875" y="202"/>
                    <a:pt x="878" y="210"/>
                    <a:pt x="883" y="214"/>
                  </a:cubicBezTo>
                  <a:cubicBezTo>
                    <a:pt x="887" y="216"/>
                    <a:pt x="889" y="215"/>
                    <a:pt x="889" y="211"/>
                  </a:cubicBezTo>
                  <a:close/>
                  <a:moveTo>
                    <a:pt x="900" y="197"/>
                  </a:moveTo>
                  <a:cubicBezTo>
                    <a:pt x="903" y="199"/>
                    <a:pt x="905" y="198"/>
                    <a:pt x="904" y="194"/>
                  </a:cubicBezTo>
                  <a:cubicBezTo>
                    <a:pt x="904" y="194"/>
                    <a:pt x="903" y="193"/>
                    <a:pt x="903" y="192"/>
                  </a:cubicBezTo>
                  <a:cubicBezTo>
                    <a:pt x="901" y="189"/>
                    <a:pt x="897" y="185"/>
                    <a:pt x="894" y="185"/>
                  </a:cubicBezTo>
                  <a:cubicBezTo>
                    <a:pt x="890" y="186"/>
                    <a:pt x="895" y="194"/>
                    <a:pt x="900" y="197"/>
                  </a:cubicBezTo>
                  <a:close/>
                  <a:moveTo>
                    <a:pt x="884" y="228"/>
                  </a:moveTo>
                  <a:cubicBezTo>
                    <a:pt x="884" y="227"/>
                    <a:pt x="884" y="227"/>
                    <a:pt x="883" y="226"/>
                  </a:cubicBezTo>
                  <a:cubicBezTo>
                    <a:pt x="882" y="223"/>
                    <a:pt x="878" y="218"/>
                    <a:pt x="874" y="218"/>
                  </a:cubicBezTo>
                  <a:cubicBezTo>
                    <a:pt x="870" y="219"/>
                    <a:pt x="873" y="228"/>
                    <a:pt x="878" y="231"/>
                  </a:cubicBezTo>
                  <a:cubicBezTo>
                    <a:pt x="882" y="233"/>
                    <a:pt x="885" y="232"/>
                    <a:pt x="884" y="228"/>
                  </a:cubicBezTo>
                  <a:close/>
                  <a:moveTo>
                    <a:pt x="877" y="245"/>
                  </a:moveTo>
                  <a:cubicBezTo>
                    <a:pt x="877" y="245"/>
                    <a:pt x="877" y="244"/>
                    <a:pt x="877" y="244"/>
                  </a:cubicBezTo>
                  <a:cubicBezTo>
                    <a:pt x="876" y="240"/>
                    <a:pt x="872" y="236"/>
                    <a:pt x="868" y="236"/>
                  </a:cubicBezTo>
                  <a:cubicBezTo>
                    <a:pt x="863" y="237"/>
                    <a:pt x="866" y="245"/>
                    <a:pt x="871" y="249"/>
                  </a:cubicBezTo>
                  <a:cubicBezTo>
                    <a:pt x="875" y="252"/>
                    <a:pt x="878" y="250"/>
                    <a:pt x="877" y="245"/>
                  </a:cubicBezTo>
                  <a:close/>
                  <a:moveTo>
                    <a:pt x="307" y="95"/>
                  </a:moveTo>
                  <a:cubicBezTo>
                    <a:pt x="308" y="95"/>
                    <a:pt x="312" y="93"/>
                    <a:pt x="316" y="91"/>
                  </a:cubicBezTo>
                  <a:cubicBezTo>
                    <a:pt x="319" y="88"/>
                    <a:pt x="320" y="85"/>
                    <a:pt x="319" y="85"/>
                  </a:cubicBezTo>
                  <a:cubicBezTo>
                    <a:pt x="318" y="85"/>
                    <a:pt x="318" y="85"/>
                    <a:pt x="318" y="85"/>
                  </a:cubicBezTo>
                  <a:cubicBezTo>
                    <a:pt x="313" y="86"/>
                    <a:pt x="305" y="94"/>
                    <a:pt x="307" y="95"/>
                  </a:cubicBezTo>
                  <a:close/>
                  <a:moveTo>
                    <a:pt x="498" y="272"/>
                  </a:moveTo>
                  <a:cubicBezTo>
                    <a:pt x="490" y="274"/>
                    <a:pt x="488" y="282"/>
                    <a:pt x="493" y="286"/>
                  </a:cubicBezTo>
                  <a:cubicBezTo>
                    <a:pt x="498" y="289"/>
                    <a:pt x="505" y="286"/>
                    <a:pt x="506" y="281"/>
                  </a:cubicBezTo>
                  <a:cubicBezTo>
                    <a:pt x="506" y="277"/>
                    <a:pt x="504" y="272"/>
                    <a:pt x="498" y="272"/>
                  </a:cubicBezTo>
                  <a:close/>
                  <a:moveTo>
                    <a:pt x="385" y="52"/>
                  </a:moveTo>
                  <a:cubicBezTo>
                    <a:pt x="384" y="52"/>
                    <a:pt x="384" y="52"/>
                    <a:pt x="384" y="52"/>
                  </a:cubicBezTo>
                  <a:cubicBezTo>
                    <a:pt x="379" y="53"/>
                    <a:pt x="372" y="59"/>
                    <a:pt x="373" y="60"/>
                  </a:cubicBezTo>
                  <a:cubicBezTo>
                    <a:pt x="374" y="61"/>
                    <a:pt x="378" y="59"/>
                    <a:pt x="382" y="56"/>
                  </a:cubicBezTo>
                  <a:cubicBezTo>
                    <a:pt x="385" y="54"/>
                    <a:pt x="386" y="52"/>
                    <a:pt x="385" y="52"/>
                  </a:cubicBezTo>
                  <a:close/>
                  <a:moveTo>
                    <a:pt x="372" y="62"/>
                  </a:moveTo>
                  <a:cubicBezTo>
                    <a:pt x="372" y="62"/>
                    <a:pt x="371" y="62"/>
                    <a:pt x="371" y="62"/>
                  </a:cubicBezTo>
                  <a:cubicBezTo>
                    <a:pt x="366" y="63"/>
                    <a:pt x="359" y="70"/>
                    <a:pt x="361" y="71"/>
                  </a:cubicBezTo>
                  <a:cubicBezTo>
                    <a:pt x="362" y="72"/>
                    <a:pt x="366" y="70"/>
                    <a:pt x="369" y="67"/>
                  </a:cubicBezTo>
                  <a:cubicBezTo>
                    <a:pt x="372" y="65"/>
                    <a:pt x="373" y="63"/>
                    <a:pt x="372" y="62"/>
                  </a:cubicBezTo>
                  <a:close/>
                  <a:moveTo>
                    <a:pt x="382" y="42"/>
                  </a:moveTo>
                  <a:cubicBezTo>
                    <a:pt x="378" y="43"/>
                    <a:pt x="370" y="49"/>
                    <a:pt x="371" y="50"/>
                  </a:cubicBezTo>
                  <a:cubicBezTo>
                    <a:pt x="372" y="50"/>
                    <a:pt x="375" y="49"/>
                    <a:pt x="379" y="47"/>
                  </a:cubicBezTo>
                  <a:cubicBezTo>
                    <a:pt x="382" y="45"/>
                    <a:pt x="384" y="43"/>
                    <a:pt x="383" y="42"/>
                  </a:cubicBezTo>
                  <a:cubicBezTo>
                    <a:pt x="383" y="42"/>
                    <a:pt x="383" y="42"/>
                    <a:pt x="382" y="42"/>
                  </a:cubicBezTo>
                  <a:close/>
                  <a:moveTo>
                    <a:pt x="365" y="60"/>
                  </a:moveTo>
                  <a:cubicBezTo>
                    <a:pt x="366" y="61"/>
                    <a:pt x="370" y="59"/>
                    <a:pt x="373" y="56"/>
                  </a:cubicBezTo>
                  <a:cubicBezTo>
                    <a:pt x="376" y="54"/>
                    <a:pt x="378" y="52"/>
                    <a:pt x="376" y="52"/>
                  </a:cubicBezTo>
                  <a:cubicBezTo>
                    <a:pt x="376" y="52"/>
                    <a:pt x="376" y="52"/>
                    <a:pt x="376" y="52"/>
                  </a:cubicBezTo>
                  <a:cubicBezTo>
                    <a:pt x="371" y="53"/>
                    <a:pt x="364" y="59"/>
                    <a:pt x="365" y="60"/>
                  </a:cubicBezTo>
                  <a:close/>
                  <a:moveTo>
                    <a:pt x="496" y="291"/>
                  </a:moveTo>
                  <a:cubicBezTo>
                    <a:pt x="488" y="293"/>
                    <a:pt x="486" y="302"/>
                    <a:pt x="492" y="305"/>
                  </a:cubicBezTo>
                  <a:cubicBezTo>
                    <a:pt x="497" y="309"/>
                    <a:pt x="504" y="305"/>
                    <a:pt x="505" y="300"/>
                  </a:cubicBezTo>
                  <a:cubicBezTo>
                    <a:pt x="505" y="296"/>
                    <a:pt x="503" y="291"/>
                    <a:pt x="496" y="291"/>
                  </a:cubicBezTo>
                  <a:close/>
                  <a:moveTo>
                    <a:pt x="379" y="67"/>
                  </a:moveTo>
                  <a:cubicBezTo>
                    <a:pt x="382" y="65"/>
                    <a:pt x="382" y="62"/>
                    <a:pt x="381" y="62"/>
                  </a:cubicBezTo>
                  <a:cubicBezTo>
                    <a:pt x="380" y="62"/>
                    <a:pt x="380" y="62"/>
                    <a:pt x="380" y="62"/>
                  </a:cubicBezTo>
                  <a:cubicBezTo>
                    <a:pt x="375" y="63"/>
                    <a:pt x="369" y="70"/>
                    <a:pt x="370" y="71"/>
                  </a:cubicBezTo>
                  <a:cubicBezTo>
                    <a:pt x="371" y="72"/>
                    <a:pt x="375" y="70"/>
                    <a:pt x="379" y="67"/>
                  </a:cubicBezTo>
                  <a:close/>
                  <a:moveTo>
                    <a:pt x="413" y="42"/>
                  </a:moveTo>
                  <a:cubicBezTo>
                    <a:pt x="409" y="43"/>
                    <a:pt x="402" y="49"/>
                    <a:pt x="403" y="50"/>
                  </a:cubicBezTo>
                  <a:cubicBezTo>
                    <a:pt x="404" y="51"/>
                    <a:pt x="408" y="49"/>
                    <a:pt x="411" y="47"/>
                  </a:cubicBezTo>
                  <a:cubicBezTo>
                    <a:pt x="414" y="44"/>
                    <a:pt x="415" y="43"/>
                    <a:pt x="414" y="42"/>
                  </a:cubicBezTo>
                  <a:cubicBezTo>
                    <a:pt x="413" y="42"/>
                    <a:pt x="413" y="42"/>
                    <a:pt x="413" y="42"/>
                  </a:cubicBezTo>
                  <a:close/>
                  <a:moveTo>
                    <a:pt x="423" y="37"/>
                  </a:moveTo>
                  <a:cubicBezTo>
                    <a:pt x="426" y="35"/>
                    <a:pt x="427" y="34"/>
                    <a:pt x="426" y="33"/>
                  </a:cubicBezTo>
                  <a:cubicBezTo>
                    <a:pt x="426" y="33"/>
                    <a:pt x="425" y="33"/>
                    <a:pt x="425" y="33"/>
                  </a:cubicBezTo>
                  <a:cubicBezTo>
                    <a:pt x="421" y="34"/>
                    <a:pt x="414" y="39"/>
                    <a:pt x="415" y="40"/>
                  </a:cubicBezTo>
                  <a:cubicBezTo>
                    <a:pt x="416" y="41"/>
                    <a:pt x="420" y="40"/>
                    <a:pt x="423" y="37"/>
                  </a:cubicBezTo>
                  <a:close/>
                  <a:moveTo>
                    <a:pt x="520" y="272"/>
                  </a:moveTo>
                  <a:cubicBezTo>
                    <a:pt x="512" y="273"/>
                    <a:pt x="510" y="282"/>
                    <a:pt x="515" y="286"/>
                  </a:cubicBezTo>
                  <a:cubicBezTo>
                    <a:pt x="520" y="289"/>
                    <a:pt x="527" y="286"/>
                    <a:pt x="528" y="281"/>
                  </a:cubicBezTo>
                  <a:cubicBezTo>
                    <a:pt x="529" y="277"/>
                    <a:pt x="526" y="272"/>
                    <a:pt x="520" y="272"/>
                  </a:cubicBezTo>
                  <a:close/>
                  <a:moveTo>
                    <a:pt x="329" y="79"/>
                  </a:moveTo>
                  <a:cubicBezTo>
                    <a:pt x="332" y="76"/>
                    <a:pt x="334" y="74"/>
                    <a:pt x="333" y="73"/>
                  </a:cubicBezTo>
                  <a:cubicBezTo>
                    <a:pt x="332" y="73"/>
                    <a:pt x="332" y="73"/>
                    <a:pt x="332" y="73"/>
                  </a:cubicBezTo>
                  <a:cubicBezTo>
                    <a:pt x="327" y="74"/>
                    <a:pt x="319" y="82"/>
                    <a:pt x="321" y="83"/>
                  </a:cubicBezTo>
                  <a:cubicBezTo>
                    <a:pt x="322" y="83"/>
                    <a:pt x="326" y="81"/>
                    <a:pt x="329" y="79"/>
                  </a:cubicBezTo>
                  <a:close/>
                  <a:moveTo>
                    <a:pt x="519" y="291"/>
                  </a:moveTo>
                  <a:cubicBezTo>
                    <a:pt x="511" y="292"/>
                    <a:pt x="509" y="301"/>
                    <a:pt x="514" y="305"/>
                  </a:cubicBezTo>
                  <a:cubicBezTo>
                    <a:pt x="519" y="309"/>
                    <a:pt x="527" y="306"/>
                    <a:pt x="528" y="300"/>
                  </a:cubicBezTo>
                  <a:cubicBezTo>
                    <a:pt x="528" y="296"/>
                    <a:pt x="526" y="291"/>
                    <a:pt x="519" y="291"/>
                  </a:cubicBezTo>
                  <a:close/>
                  <a:moveTo>
                    <a:pt x="406" y="42"/>
                  </a:moveTo>
                  <a:cubicBezTo>
                    <a:pt x="405" y="42"/>
                    <a:pt x="405" y="42"/>
                    <a:pt x="405" y="42"/>
                  </a:cubicBezTo>
                  <a:cubicBezTo>
                    <a:pt x="401" y="43"/>
                    <a:pt x="393" y="49"/>
                    <a:pt x="395" y="50"/>
                  </a:cubicBezTo>
                  <a:cubicBezTo>
                    <a:pt x="396" y="51"/>
                    <a:pt x="399" y="49"/>
                    <a:pt x="403" y="47"/>
                  </a:cubicBezTo>
                  <a:cubicBezTo>
                    <a:pt x="405" y="44"/>
                    <a:pt x="407" y="43"/>
                    <a:pt x="406" y="42"/>
                  </a:cubicBezTo>
                  <a:close/>
                  <a:moveTo>
                    <a:pt x="398" y="42"/>
                  </a:moveTo>
                  <a:cubicBezTo>
                    <a:pt x="398" y="42"/>
                    <a:pt x="397" y="42"/>
                    <a:pt x="397" y="42"/>
                  </a:cubicBezTo>
                  <a:cubicBezTo>
                    <a:pt x="393" y="43"/>
                    <a:pt x="385" y="49"/>
                    <a:pt x="386" y="50"/>
                  </a:cubicBezTo>
                  <a:cubicBezTo>
                    <a:pt x="387" y="51"/>
                    <a:pt x="391" y="49"/>
                    <a:pt x="394" y="47"/>
                  </a:cubicBezTo>
                  <a:cubicBezTo>
                    <a:pt x="397" y="44"/>
                    <a:pt x="399" y="43"/>
                    <a:pt x="398" y="42"/>
                  </a:cubicBezTo>
                  <a:close/>
                  <a:moveTo>
                    <a:pt x="390" y="42"/>
                  </a:moveTo>
                  <a:cubicBezTo>
                    <a:pt x="390" y="42"/>
                    <a:pt x="390" y="42"/>
                    <a:pt x="390" y="42"/>
                  </a:cubicBezTo>
                  <a:cubicBezTo>
                    <a:pt x="385" y="43"/>
                    <a:pt x="377" y="49"/>
                    <a:pt x="379" y="50"/>
                  </a:cubicBezTo>
                  <a:cubicBezTo>
                    <a:pt x="380" y="50"/>
                    <a:pt x="383" y="49"/>
                    <a:pt x="387" y="47"/>
                  </a:cubicBezTo>
                  <a:cubicBezTo>
                    <a:pt x="390" y="44"/>
                    <a:pt x="391" y="43"/>
                    <a:pt x="390" y="42"/>
                  </a:cubicBezTo>
                  <a:close/>
                  <a:moveTo>
                    <a:pt x="403" y="1087"/>
                  </a:moveTo>
                  <a:cubicBezTo>
                    <a:pt x="404" y="1088"/>
                    <a:pt x="417" y="1092"/>
                    <a:pt x="419" y="1092"/>
                  </a:cubicBezTo>
                  <a:cubicBezTo>
                    <a:pt x="419" y="1092"/>
                    <a:pt x="418" y="1092"/>
                    <a:pt x="412" y="1090"/>
                  </a:cubicBezTo>
                  <a:cubicBezTo>
                    <a:pt x="403" y="1087"/>
                    <a:pt x="403" y="1087"/>
                    <a:pt x="403" y="1087"/>
                  </a:cubicBezTo>
                  <a:close/>
                  <a:moveTo>
                    <a:pt x="316" y="95"/>
                  </a:moveTo>
                  <a:cubicBezTo>
                    <a:pt x="318" y="96"/>
                    <a:pt x="322" y="94"/>
                    <a:pt x="325" y="91"/>
                  </a:cubicBezTo>
                  <a:cubicBezTo>
                    <a:pt x="328" y="88"/>
                    <a:pt x="329" y="85"/>
                    <a:pt x="328" y="85"/>
                  </a:cubicBezTo>
                  <a:cubicBezTo>
                    <a:pt x="327" y="85"/>
                    <a:pt x="327" y="85"/>
                    <a:pt x="327" y="85"/>
                  </a:cubicBezTo>
                  <a:cubicBezTo>
                    <a:pt x="322" y="86"/>
                    <a:pt x="315" y="93"/>
                    <a:pt x="316" y="95"/>
                  </a:cubicBezTo>
                  <a:close/>
                  <a:moveTo>
                    <a:pt x="395" y="1083"/>
                  </a:moveTo>
                  <a:cubicBezTo>
                    <a:pt x="393" y="1083"/>
                    <a:pt x="386" y="1080"/>
                    <a:pt x="386" y="1080"/>
                  </a:cubicBezTo>
                  <a:cubicBezTo>
                    <a:pt x="387" y="1081"/>
                    <a:pt x="399" y="1086"/>
                    <a:pt x="401" y="1086"/>
                  </a:cubicBezTo>
                  <a:cubicBezTo>
                    <a:pt x="401" y="1086"/>
                    <a:pt x="401" y="1085"/>
                    <a:pt x="395" y="1083"/>
                  </a:cubicBezTo>
                  <a:close/>
                  <a:moveTo>
                    <a:pt x="383" y="1080"/>
                  </a:moveTo>
                  <a:cubicBezTo>
                    <a:pt x="384" y="1081"/>
                    <a:pt x="397" y="1085"/>
                    <a:pt x="399" y="1086"/>
                  </a:cubicBezTo>
                  <a:cubicBezTo>
                    <a:pt x="399" y="1086"/>
                    <a:pt x="398" y="1085"/>
                    <a:pt x="392" y="1083"/>
                  </a:cubicBezTo>
                  <a:cubicBezTo>
                    <a:pt x="390" y="1082"/>
                    <a:pt x="383" y="1080"/>
                    <a:pt x="383" y="1080"/>
                  </a:cubicBezTo>
                  <a:close/>
                  <a:moveTo>
                    <a:pt x="369" y="52"/>
                  </a:moveTo>
                  <a:cubicBezTo>
                    <a:pt x="369" y="52"/>
                    <a:pt x="368" y="52"/>
                    <a:pt x="368" y="52"/>
                  </a:cubicBezTo>
                  <a:cubicBezTo>
                    <a:pt x="363" y="53"/>
                    <a:pt x="355" y="59"/>
                    <a:pt x="357" y="60"/>
                  </a:cubicBezTo>
                  <a:cubicBezTo>
                    <a:pt x="358" y="61"/>
                    <a:pt x="362" y="59"/>
                    <a:pt x="365" y="56"/>
                  </a:cubicBezTo>
                  <a:cubicBezTo>
                    <a:pt x="368" y="54"/>
                    <a:pt x="370" y="52"/>
                    <a:pt x="369" y="52"/>
                  </a:cubicBezTo>
                  <a:close/>
                  <a:moveTo>
                    <a:pt x="348" y="83"/>
                  </a:moveTo>
                  <a:cubicBezTo>
                    <a:pt x="350" y="83"/>
                    <a:pt x="354" y="81"/>
                    <a:pt x="357" y="79"/>
                  </a:cubicBezTo>
                  <a:cubicBezTo>
                    <a:pt x="360" y="76"/>
                    <a:pt x="361" y="73"/>
                    <a:pt x="359" y="73"/>
                  </a:cubicBezTo>
                  <a:cubicBezTo>
                    <a:pt x="359" y="73"/>
                    <a:pt x="359" y="73"/>
                    <a:pt x="359" y="73"/>
                  </a:cubicBezTo>
                  <a:cubicBezTo>
                    <a:pt x="354" y="74"/>
                    <a:pt x="347" y="81"/>
                    <a:pt x="348" y="83"/>
                  </a:cubicBezTo>
                  <a:close/>
                  <a:moveTo>
                    <a:pt x="352" y="71"/>
                  </a:moveTo>
                  <a:cubicBezTo>
                    <a:pt x="353" y="72"/>
                    <a:pt x="357" y="70"/>
                    <a:pt x="360" y="67"/>
                  </a:cubicBezTo>
                  <a:cubicBezTo>
                    <a:pt x="363" y="65"/>
                    <a:pt x="364" y="63"/>
                    <a:pt x="363" y="62"/>
                  </a:cubicBezTo>
                  <a:cubicBezTo>
                    <a:pt x="363" y="62"/>
                    <a:pt x="363" y="62"/>
                    <a:pt x="362" y="62"/>
                  </a:cubicBezTo>
                  <a:cubicBezTo>
                    <a:pt x="358" y="63"/>
                    <a:pt x="350" y="70"/>
                    <a:pt x="352" y="71"/>
                  </a:cubicBezTo>
                  <a:close/>
                  <a:moveTo>
                    <a:pt x="831" y="120"/>
                  </a:moveTo>
                  <a:cubicBezTo>
                    <a:pt x="834" y="122"/>
                    <a:pt x="836" y="122"/>
                    <a:pt x="835" y="120"/>
                  </a:cubicBezTo>
                  <a:cubicBezTo>
                    <a:pt x="835" y="119"/>
                    <a:pt x="835" y="118"/>
                    <a:pt x="833" y="117"/>
                  </a:cubicBezTo>
                  <a:cubicBezTo>
                    <a:pt x="831" y="114"/>
                    <a:pt x="827" y="110"/>
                    <a:pt x="824" y="111"/>
                  </a:cubicBezTo>
                  <a:cubicBezTo>
                    <a:pt x="821" y="111"/>
                    <a:pt x="827" y="118"/>
                    <a:pt x="831" y="120"/>
                  </a:cubicBezTo>
                  <a:close/>
                  <a:moveTo>
                    <a:pt x="467" y="1103"/>
                  </a:moveTo>
                  <a:cubicBezTo>
                    <a:pt x="469" y="1103"/>
                    <a:pt x="482" y="1106"/>
                    <a:pt x="483" y="1106"/>
                  </a:cubicBezTo>
                  <a:cubicBezTo>
                    <a:pt x="481" y="1105"/>
                    <a:pt x="479" y="1105"/>
                    <a:pt x="477" y="1104"/>
                  </a:cubicBezTo>
                  <a:cubicBezTo>
                    <a:pt x="467" y="1103"/>
                    <a:pt x="467" y="1103"/>
                    <a:pt x="467" y="1103"/>
                  </a:cubicBezTo>
                  <a:close/>
                  <a:moveTo>
                    <a:pt x="447" y="1098"/>
                  </a:moveTo>
                  <a:cubicBezTo>
                    <a:pt x="449" y="1099"/>
                    <a:pt x="461" y="1102"/>
                    <a:pt x="463" y="1102"/>
                  </a:cubicBezTo>
                  <a:cubicBezTo>
                    <a:pt x="463" y="1102"/>
                    <a:pt x="463" y="1102"/>
                    <a:pt x="457" y="1100"/>
                  </a:cubicBezTo>
                  <a:cubicBezTo>
                    <a:pt x="450" y="1099"/>
                    <a:pt x="447" y="1098"/>
                    <a:pt x="447" y="1098"/>
                  </a:cubicBezTo>
                  <a:close/>
                  <a:moveTo>
                    <a:pt x="469" y="1103"/>
                  </a:moveTo>
                  <a:cubicBezTo>
                    <a:pt x="471" y="1103"/>
                    <a:pt x="483" y="1106"/>
                    <a:pt x="485" y="1106"/>
                  </a:cubicBezTo>
                  <a:cubicBezTo>
                    <a:pt x="485" y="1106"/>
                    <a:pt x="485" y="1106"/>
                    <a:pt x="478" y="1104"/>
                  </a:cubicBezTo>
                  <a:cubicBezTo>
                    <a:pt x="469" y="1103"/>
                    <a:pt x="469" y="1103"/>
                    <a:pt x="469" y="1103"/>
                  </a:cubicBezTo>
                  <a:close/>
                  <a:moveTo>
                    <a:pt x="405" y="1087"/>
                  </a:moveTo>
                  <a:cubicBezTo>
                    <a:pt x="406" y="1088"/>
                    <a:pt x="419" y="1092"/>
                    <a:pt x="421" y="1092"/>
                  </a:cubicBezTo>
                  <a:cubicBezTo>
                    <a:pt x="421" y="1092"/>
                    <a:pt x="421" y="1092"/>
                    <a:pt x="415" y="1090"/>
                  </a:cubicBezTo>
                  <a:cubicBezTo>
                    <a:pt x="411" y="1088"/>
                    <a:pt x="405" y="1087"/>
                    <a:pt x="405" y="1087"/>
                  </a:cubicBezTo>
                  <a:close/>
                  <a:moveTo>
                    <a:pt x="425" y="1093"/>
                  </a:moveTo>
                  <a:cubicBezTo>
                    <a:pt x="426" y="1094"/>
                    <a:pt x="439" y="1097"/>
                    <a:pt x="441" y="1097"/>
                  </a:cubicBezTo>
                  <a:cubicBezTo>
                    <a:pt x="441" y="1097"/>
                    <a:pt x="441" y="1097"/>
                    <a:pt x="435" y="1096"/>
                  </a:cubicBezTo>
                  <a:cubicBezTo>
                    <a:pt x="428" y="1094"/>
                    <a:pt x="425" y="1093"/>
                    <a:pt x="425" y="1093"/>
                  </a:cubicBezTo>
                  <a:close/>
                  <a:moveTo>
                    <a:pt x="423" y="1093"/>
                  </a:moveTo>
                  <a:cubicBezTo>
                    <a:pt x="425" y="1094"/>
                    <a:pt x="438" y="1097"/>
                    <a:pt x="439" y="1097"/>
                  </a:cubicBezTo>
                  <a:cubicBezTo>
                    <a:pt x="439" y="1097"/>
                    <a:pt x="439" y="1097"/>
                    <a:pt x="433" y="1096"/>
                  </a:cubicBezTo>
                  <a:cubicBezTo>
                    <a:pt x="426" y="1094"/>
                    <a:pt x="423" y="1093"/>
                    <a:pt x="423" y="1093"/>
                  </a:cubicBezTo>
                  <a:close/>
                  <a:moveTo>
                    <a:pt x="631" y="124"/>
                  </a:moveTo>
                  <a:cubicBezTo>
                    <a:pt x="626" y="125"/>
                    <a:pt x="626" y="131"/>
                    <a:pt x="630" y="134"/>
                  </a:cubicBezTo>
                  <a:cubicBezTo>
                    <a:pt x="634" y="137"/>
                    <a:pt x="639" y="135"/>
                    <a:pt x="639" y="130"/>
                  </a:cubicBezTo>
                  <a:cubicBezTo>
                    <a:pt x="638" y="128"/>
                    <a:pt x="635" y="124"/>
                    <a:pt x="631" y="124"/>
                  </a:cubicBezTo>
                  <a:close/>
                  <a:moveTo>
                    <a:pt x="695" y="98"/>
                  </a:moveTo>
                  <a:cubicBezTo>
                    <a:pt x="691" y="98"/>
                    <a:pt x="693" y="104"/>
                    <a:pt x="697" y="106"/>
                  </a:cubicBezTo>
                  <a:cubicBezTo>
                    <a:pt x="701" y="109"/>
                    <a:pt x="704" y="108"/>
                    <a:pt x="704" y="105"/>
                  </a:cubicBezTo>
                  <a:cubicBezTo>
                    <a:pt x="704" y="104"/>
                    <a:pt x="704" y="104"/>
                    <a:pt x="703" y="103"/>
                  </a:cubicBezTo>
                  <a:cubicBezTo>
                    <a:pt x="702" y="101"/>
                    <a:pt x="699" y="97"/>
                    <a:pt x="695" y="98"/>
                  </a:cubicBezTo>
                  <a:close/>
                  <a:moveTo>
                    <a:pt x="670" y="91"/>
                  </a:moveTo>
                  <a:cubicBezTo>
                    <a:pt x="669" y="88"/>
                    <a:pt x="666" y="85"/>
                    <a:pt x="662" y="85"/>
                  </a:cubicBezTo>
                  <a:cubicBezTo>
                    <a:pt x="658" y="86"/>
                    <a:pt x="659" y="91"/>
                    <a:pt x="663" y="94"/>
                  </a:cubicBezTo>
                  <a:cubicBezTo>
                    <a:pt x="667" y="96"/>
                    <a:pt x="671" y="95"/>
                    <a:pt x="670" y="92"/>
                  </a:cubicBezTo>
                  <a:cubicBezTo>
                    <a:pt x="670" y="91"/>
                    <a:pt x="670" y="91"/>
                    <a:pt x="670" y="91"/>
                  </a:cubicBezTo>
                  <a:close/>
                  <a:moveTo>
                    <a:pt x="710" y="117"/>
                  </a:moveTo>
                  <a:cubicBezTo>
                    <a:pt x="709" y="114"/>
                    <a:pt x="706" y="110"/>
                    <a:pt x="702" y="111"/>
                  </a:cubicBezTo>
                  <a:cubicBezTo>
                    <a:pt x="698" y="111"/>
                    <a:pt x="699" y="117"/>
                    <a:pt x="703" y="120"/>
                  </a:cubicBezTo>
                  <a:cubicBezTo>
                    <a:pt x="707" y="123"/>
                    <a:pt x="711" y="121"/>
                    <a:pt x="711" y="118"/>
                  </a:cubicBezTo>
                  <a:cubicBezTo>
                    <a:pt x="711" y="117"/>
                    <a:pt x="710" y="117"/>
                    <a:pt x="710" y="117"/>
                  </a:cubicBezTo>
                  <a:close/>
                  <a:moveTo>
                    <a:pt x="718" y="120"/>
                  </a:moveTo>
                  <a:cubicBezTo>
                    <a:pt x="722" y="123"/>
                    <a:pt x="725" y="122"/>
                    <a:pt x="725" y="118"/>
                  </a:cubicBezTo>
                  <a:cubicBezTo>
                    <a:pt x="725" y="118"/>
                    <a:pt x="725" y="117"/>
                    <a:pt x="724" y="117"/>
                  </a:cubicBezTo>
                  <a:cubicBezTo>
                    <a:pt x="723" y="114"/>
                    <a:pt x="720" y="110"/>
                    <a:pt x="716" y="111"/>
                  </a:cubicBezTo>
                  <a:cubicBezTo>
                    <a:pt x="712" y="111"/>
                    <a:pt x="714" y="117"/>
                    <a:pt x="718" y="120"/>
                  </a:cubicBezTo>
                  <a:close/>
                  <a:moveTo>
                    <a:pt x="690" y="103"/>
                  </a:moveTo>
                  <a:cubicBezTo>
                    <a:pt x="689" y="101"/>
                    <a:pt x="685" y="97"/>
                    <a:pt x="682" y="98"/>
                  </a:cubicBezTo>
                  <a:cubicBezTo>
                    <a:pt x="677" y="98"/>
                    <a:pt x="679" y="104"/>
                    <a:pt x="683" y="106"/>
                  </a:cubicBezTo>
                  <a:cubicBezTo>
                    <a:pt x="687" y="109"/>
                    <a:pt x="691" y="108"/>
                    <a:pt x="690" y="104"/>
                  </a:cubicBezTo>
                  <a:cubicBezTo>
                    <a:pt x="690" y="104"/>
                    <a:pt x="690" y="104"/>
                    <a:pt x="690" y="103"/>
                  </a:cubicBezTo>
                  <a:close/>
                  <a:moveTo>
                    <a:pt x="668" y="106"/>
                  </a:moveTo>
                  <a:cubicBezTo>
                    <a:pt x="672" y="109"/>
                    <a:pt x="676" y="108"/>
                    <a:pt x="676" y="104"/>
                  </a:cubicBezTo>
                  <a:cubicBezTo>
                    <a:pt x="676" y="104"/>
                    <a:pt x="676" y="104"/>
                    <a:pt x="676" y="103"/>
                  </a:cubicBezTo>
                  <a:cubicBezTo>
                    <a:pt x="675" y="101"/>
                    <a:pt x="671" y="97"/>
                    <a:pt x="668" y="98"/>
                  </a:cubicBezTo>
                  <a:cubicBezTo>
                    <a:pt x="663" y="98"/>
                    <a:pt x="664" y="104"/>
                    <a:pt x="668" y="106"/>
                  </a:cubicBezTo>
                  <a:close/>
                  <a:moveTo>
                    <a:pt x="675" y="85"/>
                  </a:moveTo>
                  <a:cubicBezTo>
                    <a:pt x="671" y="86"/>
                    <a:pt x="673" y="91"/>
                    <a:pt x="677" y="94"/>
                  </a:cubicBezTo>
                  <a:cubicBezTo>
                    <a:pt x="680" y="96"/>
                    <a:pt x="684" y="95"/>
                    <a:pt x="683" y="92"/>
                  </a:cubicBezTo>
                  <a:cubicBezTo>
                    <a:pt x="683" y="92"/>
                    <a:pt x="683" y="91"/>
                    <a:pt x="683" y="91"/>
                  </a:cubicBezTo>
                  <a:cubicBezTo>
                    <a:pt x="682" y="88"/>
                    <a:pt x="679" y="85"/>
                    <a:pt x="675" y="85"/>
                  </a:cubicBezTo>
                  <a:close/>
                  <a:moveTo>
                    <a:pt x="689" y="120"/>
                  </a:moveTo>
                  <a:cubicBezTo>
                    <a:pt x="693" y="123"/>
                    <a:pt x="697" y="122"/>
                    <a:pt x="696" y="118"/>
                  </a:cubicBezTo>
                  <a:cubicBezTo>
                    <a:pt x="696" y="117"/>
                    <a:pt x="696" y="117"/>
                    <a:pt x="696" y="117"/>
                  </a:cubicBezTo>
                  <a:cubicBezTo>
                    <a:pt x="695" y="114"/>
                    <a:pt x="692" y="110"/>
                    <a:pt x="688" y="111"/>
                  </a:cubicBezTo>
                  <a:cubicBezTo>
                    <a:pt x="683" y="111"/>
                    <a:pt x="685" y="117"/>
                    <a:pt x="689" y="120"/>
                  </a:cubicBezTo>
                  <a:close/>
                  <a:moveTo>
                    <a:pt x="746" y="130"/>
                  </a:moveTo>
                  <a:cubicBezTo>
                    <a:pt x="745" y="128"/>
                    <a:pt x="741" y="124"/>
                    <a:pt x="737" y="124"/>
                  </a:cubicBezTo>
                  <a:cubicBezTo>
                    <a:pt x="733" y="125"/>
                    <a:pt x="735" y="131"/>
                    <a:pt x="739" y="134"/>
                  </a:cubicBezTo>
                  <a:cubicBezTo>
                    <a:pt x="743" y="137"/>
                    <a:pt x="747" y="136"/>
                    <a:pt x="747" y="132"/>
                  </a:cubicBezTo>
                  <a:cubicBezTo>
                    <a:pt x="747" y="132"/>
                    <a:pt x="746" y="131"/>
                    <a:pt x="746" y="130"/>
                  </a:cubicBezTo>
                  <a:close/>
                  <a:moveTo>
                    <a:pt x="752" y="94"/>
                  </a:moveTo>
                  <a:cubicBezTo>
                    <a:pt x="756" y="96"/>
                    <a:pt x="758" y="95"/>
                    <a:pt x="758" y="93"/>
                  </a:cubicBezTo>
                  <a:cubicBezTo>
                    <a:pt x="758" y="93"/>
                    <a:pt x="757" y="92"/>
                    <a:pt x="757" y="91"/>
                  </a:cubicBezTo>
                  <a:cubicBezTo>
                    <a:pt x="755" y="88"/>
                    <a:pt x="751" y="85"/>
                    <a:pt x="748" y="85"/>
                  </a:cubicBezTo>
                  <a:cubicBezTo>
                    <a:pt x="745" y="86"/>
                    <a:pt x="748" y="91"/>
                    <a:pt x="752" y="94"/>
                  </a:cubicBezTo>
                  <a:close/>
                  <a:moveTo>
                    <a:pt x="732" y="149"/>
                  </a:moveTo>
                  <a:cubicBezTo>
                    <a:pt x="736" y="152"/>
                    <a:pt x="740" y="150"/>
                    <a:pt x="739" y="146"/>
                  </a:cubicBezTo>
                  <a:cubicBezTo>
                    <a:pt x="739" y="146"/>
                    <a:pt x="739" y="145"/>
                    <a:pt x="739" y="145"/>
                  </a:cubicBezTo>
                  <a:cubicBezTo>
                    <a:pt x="738" y="142"/>
                    <a:pt x="734" y="138"/>
                    <a:pt x="730" y="139"/>
                  </a:cubicBezTo>
                  <a:cubicBezTo>
                    <a:pt x="725" y="139"/>
                    <a:pt x="727" y="146"/>
                    <a:pt x="732" y="149"/>
                  </a:cubicBezTo>
                  <a:close/>
                  <a:moveTo>
                    <a:pt x="710" y="134"/>
                  </a:moveTo>
                  <a:cubicBezTo>
                    <a:pt x="714" y="137"/>
                    <a:pt x="718" y="136"/>
                    <a:pt x="717" y="132"/>
                  </a:cubicBezTo>
                  <a:cubicBezTo>
                    <a:pt x="717" y="131"/>
                    <a:pt x="717" y="131"/>
                    <a:pt x="717" y="130"/>
                  </a:cubicBezTo>
                  <a:cubicBezTo>
                    <a:pt x="716" y="128"/>
                    <a:pt x="712" y="124"/>
                    <a:pt x="708" y="124"/>
                  </a:cubicBezTo>
                  <a:cubicBezTo>
                    <a:pt x="704" y="125"/>
                    <a:pt x="705" y="131"/>
                    <a:pt x="710" y="134"/>
                  </a:cubicBezTo>
                  <a:close/>
                  <a:moveTo>
                    <a:pt x="722" y="164"/>
                  </a:moveTo>
                  <a:cubicBezTo>
                    <a:pt x="727" y="167"/>
                    <a:pt x="731" y="165"/>
                    <a:pt x="730" y="161"/>
                  </a:cubicBezTo>
                  <a:cubicBezTo>
                    <a:pt x="730" y="161"/>
                    <a:pt x="730" y="160"/>
                    <a:pt x="730" y="160"/>
                  </a:cubicBezTo>
                  <a:cubicBezTo>
                    <a:pt x="729" y="157"/>
                    <a:pt x="725" y="153"/>
                    <a:pt x="721" y="153"/>
                  </a:cubicBezTo>
                  <a:cubicBezTo>
                    <a:pt x="716" y="154"/>
                    <a:pt x="717" y="161"/>
                    <a:pt x="722" y="164"/>
                  </a:cubicBezTo>
                  <a:close/>
                  <a:moveTo>
                    <a:pt x="619" y="180"/>
                  </a:moveTo>
                  <a:cubicBezTo>
                    <a:pt x="624" y="183"/>
                    <a:pt x="630" y="181"/>
                    <a:pt x="629" y="176"/>
                  </a:cubicBezTo>
                  <a:cubicBezTo>
                    <a:pt x="629" y="173"/>
                    <a:pt x="626" y="169"/>
                    <a:pt x="621" y="169"/>
                  </a:cubicBezTo>
                  <a:cubicBezTo>
                    <a:pt x="615" y="170"/>
                    <a:pt x="615" y="177"/>
                    <a:pt x="619" y="180"/>
                  </a:cubicBezTo>
                  <a:close/>
                  <a:moveTo>
                    <a:pt x="724" y="145"/>
                  </a:moveTo>
                  <a:cubicBezTo>
                    <a:pt x="723" y="142"/>
                    <a:pt x="719" y="138"/>
                    <a:pt x="715" y="139"/>
                  </a:cubicBezTo>
                  <a:cubicBezTo>
                    <a:pt x="710" y="139"/>
                    <a:pt x="712" y="146"/>
                    <a:pt x="716" y="149"/>
                  </a:cubicBezTo>
                  <a:cubicBezTo>
                    <a:pt x="721" y="152"/>
                    <a:pt x="725" y="150"/>
                    <a:pt x="724" y="146"/>
                  </a:cubicBezTo>
                  <a:cubicBezTo>
                    <a:pt x="724" y="145"/>
                    <a:pt x="724" y="145"/>
                    <a:pt x="724" y="145"/>
                  </a:cubicBezTo>
                  <a:close/>
                  <a:moveTo>
                    <a:pt x="654" y="98"/>
                  </a:moveTo>
                  <a:cubicBezTo>
                    <a:pt x="649" y="98"/>
                    <a:pt x="650" y="104"/>
                    <a:pt x="654" y="106"/>
                  </a:cubicBezTo>
                  <a:cubicBezTo>
                    <a:pt x="658" y="109"/>
                    <a:pt x="662" y="108"/>
                    <a:pt x="661" y="104"/>
                  </a:cubicBezTo>
                  <a:cubicBezTo>
                    <a:pt x="661" y="104"/>
                    <a:pt x="661" y="103"/>
                    <a:pt x="661" y="103"/>
                  </a:cubicBezTo>
                  <a:cubicBezTo>
                    <a:pt x="661" y="101"/>
                    <a:pt x="657" y="97"/>
                    <a:pt x="654" y="98"/>
                  </a:cubicBezTo>
                  <a:close/>
                  <a:moveTo>
                    <a:pt x="412" y="50"/>
                  </a:moveTo>
                  <a:cubicBezTo>
                    <a:pt x="413" y="51"/>
                    <a:pt x="417" y="49"/>
                    <a:pt x="420" y="47"/>
                  </a:cubicBezTo>
                  <a:cubicBezTo>
                    <a:pt x="423" y="44"/>
                    <a:pt x="423" y="43"/>
                    <a:pt x="422" y="42"/>
                  </a:cubicBezTo>
                  <a:cubicBezTo>
                    <a:pt x="422" y="42"/>
                    <a:pt x="422" y="42"/>
                    <a:pt x="421" y="42"/>
                  </a:cubicBezTo>
                  <a:cubicBezTo>
                    <a:pt x="417" y="43"/>
                    <a:pt x="411" y="49"/>
                    <a:pt x="412" y="50"/>
                  </a:cubicBezTo>
                  <a:close/>
                  <a:moveTo>
                    <a:pt x="470" y="18"/>
                  </a:moveTo>
                  <a:cubicBezTo>
                    <a:pt x="466" y="18"/>
                    <a:pt x="460" y="23"/>
                    <a:pt x="461" y="24"/>
                  </a:cubicBezTo>
                  <a:cubicBezTo>
                    <a:pt x="462" y="24"/>
                    <a:pt x="465" y="23"/>
                    <a:pt x="468" y="21"/>
                  </a:cubicBezTo>
                  <a:cubicBezTo>
                    <a:pt x="470" y="19"/>
                    <a:pt x="471" y="18"/>
                    <a:pt x="470" y="18"/>
                  </a:cubicBezTo>
                  <a:cubicBezTo>
                    <a:pt x="470" y="18"/>
                    <a:pt x="470" y="18"/>
                    <a:pt x="470" y="18"/>
                  </a:cubicBezTo>
                  <a:close/>
                  <a:moveTo>
                    <a:pt x="410" y="24"/>
                  </a:moveTo>
                  <a:cubicBezTo>
                    <a:pt x="410" y="24"/>
                    <a:pt x="413" y="23"/>
                    <a:pt x="417" y="21"/>
                  </a:cubicBezTo>
                  <a:cubicBezTo>
                    <a:pt x="418" y="21"/>
                    <a:pt x="423" y="18"/>
                    <a:pt x="423" y="18"/>
                  </a:cubicBezTo>
                  <a:cubicBezTo>
                    <a:pt x="422" y="18"/>
                    <a:pt x="422" y="18"/>
                    <a:pt x="422" y="18"/>
                  </a:cubicBezTo>
                  <a:cubicBezTo>
                    <a:pt x="418" y="18"/>
                    <a:pt x="409" y="23"/>
                    <a:pt x="410" y="24"/>
                  </a:cubicBezTo>
                  <a:close/>
                  <a:moveTo>
                    <a:pt x="617" y="164"/>
                  </a:moveTo>
                  <a:cubicBezTo>
                    <a:pt x="622" y="167"/>
                    <a:pt x="627" y="165"/>
                    <a:pt x="627" y="160"/>
                  </a:cubicBezTo>
                  <a:cubicBezTo>
                    <a:pt x="627" y="157"/>
                    <a:pt x="624" y="153"/>
                    <a:pt x="619" y="153"/>
                  </a:cubicBezTo>
                  <a:cubicBezTo>
                    <a:pt x="613" y="154"/>
                    <a:pt x="613" y="161"/>
                    <a:pt x="617" y="164"/>
                  </a:cubicBezTo>
                  <a:close/>
                  <a:moveTo>
                    <a:pt x="604" y="231"/>
                  </a:moveTo>
                  <a:cubicBezTo>
                    <a:pt x="608" y="234"/>
                    <a:pt x="615" y="231"/>
                    <a:pt x="615" y="226"/>
                  </a:cubicBezTo>
                  <a:cubicBezTo>
                    <a:pt x="615" y="223"/>
                    <a:pt x="612" y="218"/>
                    <a:pt x="607" y="218"/>
                  </a:cubicBezTo>
                  <a:cubicBezTo>
                    <a:pt x="600" y="219"/>
                    <a:pt x="599" y="227"/>
                    <a:pt x="604" y="231"/>
                  </a:cubicBezTo>
                  <a:close/>
                  <a:moveTo>
                    <a:pt x="469" y="24"/>
                  </a:moveTo>
                  <a:cubicBezTo>
                    <a:pt x="470" y="24"/>
                    <a:pt x="473" y="23"/>
                    <a:pt x="475" y="21"/>
                  </a:cubicBezTo>
                  <a:cubicBezTo>
                    <a:pt x="477" y="19"/>
                    <a:pt x="478" y="18"/>
                    <a:pt x="477" y="18"/>
                  </a:cubicBezTo>
                  <a:cubicBezTo>
                    <a:pt x="477" y="18"/>
                    <a:pt x="477" y="18"/>
                    <a:pt x="477" y="18"/>
                  </a:cubicBezTo>
                  <a:cubicBezTo>
                    <a:pt x="473" y="18"/>
                    <a:pt x="467" y="23"/>
                    <a:pt x="469" y="24"/>
                  </a:cubicBezTo>
                  <a:close/>
                  <a:moveTo>
                    <a:pt x="634" y="139"/>
                  </a:moveTo>
                  <a:cubicBezTo>
                    <a:pt x="628" y="139"/>
                    <a:pt x="629" y="146"/>
                    <a:pt x="633" y="149"/>
                  </a:cubicBezTo>
                  <a:cubicBezTo>
                    <a:pt x="637" y="152"/>
                    <a:pt x="642" y="150"/>
                    <a:pt x="642" y="145"/>
                  </a:cubicBezTo>
                  <a:cubicBezTo>
                    <a:pt x="642" y="142"/>
                    <a:pt x="639" y="138"/>
                    <a:pt x="634" y="139"/>
                  </a:cubicBezTo>
                  <a:close/>
                  <a:moveTo>
                    <a:pt x="643" y="111"/>
                  </a:moveTo>
                  <a:cubicBezTo>
                    <a:pt x="638" y="111"/>
                    <a:pt x="639" y="117"/>
                    <a:pt x="643" y="120"/>
                  </a:cubicBezTo>
                  <a:cubicBezTo>
                    <a:pt x="647" y="123"/>
                    <a:pt x="652" y="121"/>
                    <a:pt x="651" y="117"/>
                  </a:cubicBezTo>
                  <a:cubicBezTo>
                    <a:pt x="650" y="114"/>
                    <a:pt x="647" y="110"/>
                    <a:pt x="643" y="111"/>
                  </a:cubicBezTo>
                  <a:close/>
                  <a:moveTo>
                    <a:pt x="757" y="59"/>
                  </a:moveTo>
                  <a:cubicBezTo>
                    <a:pt x="759" y="60"/>
                    <a:pt x="761" y="61"/>
                    <a:pt x="761" y="59"/>
                  </a:cubicBezTo>
                  <a:cubicBezTo>
                    <a:pt x="761" y="59"/>
                    <a:pt x="760" y="58"/>
                    <a:pt x="758" y="56"/>
                  </a:cubicBezTo>
                  <a:cubicBezTo>
                    <a:pt x="755" y="54"/>
                    <a:pt x="751" y="52"/>
                    <a:pt x="749" y="52"/>
                  </a:cubicBezTo>
                  <a:cubicBezTo>
                    <a:pt x="748" y="53"/>
                    <a:pt x="752" y="57"/>
                    <a:pt x="757" y="59"/>
                  </a:cubicBezTo>
                  <a:close/>
                  <a:moveTo>
                    <a:pt x="628" y="111"/>
                  </a:moveTo>
                  <a:cubicBezTo>
                    <a:pt x="623" y="111"/>
                    <a:pt x="623" y="117"/>
                    <a:pt x="627" y="120"/>
                  </a:cubicBezTo>
                  <a:cubicBezTo>
                    <a:pt x="631" y="123"/>
                    <a:pt x="636" y="121"/>
                    <a:pt x="635" y="117"/>
                  </a:cubicBezTo>
                  <a:cubicBezTo>
                    <a:pt x="635" y="114"/>
                    <a:pt x="632" y="110"/>
                    <a:pt x="628" y="111"/>
                  </a:cubicBezTo>
                  <a:close/>
                  <a:moveTo>
                    <a:pt x="433" y="14"/>
                  </a:moveTo>
                  <a:cubicBezTo>
                    <a:pt x="434" y="14"/>
                    <a:pt x="438" y="12"/>
                    <a:pt x="438" y="11"/>
                  </a:cubicBezTo>
                  <a:cubicBezTo>
                    <a:pt x="438" y="11"/>
                    <a:pt x="438" y="11"/>
                    <a:pt x="438" y="11"/>
                  </a:cubicBezTo>
                  <a:cubicBezTo>
                    <a:pt x="438" y="11"/>
                    <a:pt x="438" y="11"/>
                    <a:pt x="438" y="11"/>
                  </a:cubicBezTo>
                  <a:cubicBezTo>
                    <a:pt x="435" y="12"/>
                    <a:pt x="425" y="16"/>
                    <a:pt x="425" y="16"/>
                  </a:cubicBezTo>
                  <a:cubicBezTo>
                    <a:pt x="426" y="17"/>
                    <a:pt x="431" y="15"/>
                    <a:pt x="433" y="14"/>
                  </a:cubicBezTo>
                  <a:close/>
                  <a:moveTo>
                    <a:pt x="617" y="139"/>
                  </a:moveTo>
                  <a:cubicBezTo>
                    <a:pt x="611" y="139"/>
                    <a:pt x="611" y="146"/>
                    <a:pt x="615" y="149"/>
                  </a:cubicBezTo>
                  <a:cubicBezTo>
                    <a:pt x="619" y="152"/>
                    <a:pt x="625" y="150"/>
                    <a:pt x="625" y="145"/>
                  </a:cubicBezTo>
                  <a:cubicBezTo>
                    <a:pt x="624" y="142"/>
                    <a:pt x="622" y="138"/>
                    <a:pt x="617" y="139"/>
                  </a:cubicBezTo>
                  <a:close/>
                  <a:moveTo>
                    <a:pt x="642" y="185"/>
                  </a:moveTo>
                  <a:cubicBezTo>
                    <a:pt x="636" y="186"/>
                    <a:pt x="636" y="193"/>
                    <a:pt x="641" y="196"/>
                  </a:cubicBezTo>
                  <a:cubicBezTo>
                    <a:pt x="645" y="200"/>
                    <a:pt x="651" y="197"/>
                    <a:pt x="651" y="192"/>
                  </a:cubicBezTo>
                  <a:cubicBezTo>
                    <a:pt x="651" y="189"/>
                    <a:pt x="648" y="185"/>
                    <a:pt x="642" y="185"/>
                  </a:cubicBezTo>
                  <a:close/>
                  <a:moveTo>
                    <a:pt x="727" y="169"/>
                  </a:moveTo>
                  <a:cubicBezTo>
                    <a:pt x="722" y="170"/>
                    <a:pt x="723" y="177"/>
                    <a:pt x="728" y="180"/>
                  </a:cubicBezTo>
                  <a:cubicBezTo>
                    <a:pt x="732" y="183"/>
                    <a:pt x="737" y="181"/>
                    <a:pt x="736" y="176"/>
                  </a:cubicBezTo>
                  <a:cubicBezTo>
                    <a:pt x="736" y="176"/>
                    <a:pt x="736" y="176"/>
                    <a:pt x="736" y="176"/>
                  </a:cubicBezTo>
                  <a:cubicBezTo>
                    <a:pt x="735" y="173"/>
                    <a:pt x="731" y="169"/>
                    <a:pt x="727" y="169"/>
                  </a:cubicBezTo>
                  <a:close/>
                  <a:moveTo>
                    <a:pt x="694" y="124"/>
                  </a:moveTo>
                  <a:cubicBezTo>
                    <a:pt x="689" y="125"/>
                    <a:pt x="690" y="131"/>
                    <a:pt x="694" y="134"/>
                  </a:cubicBezTo>
                  <a:cubicBezTo>
                    <a:pt x="698" y="137"/>
                    <a:pt x="703" y="136"/>
                    <a:pt x="702" y="132"/>
                  </a:cubicBezTo>
                  <a:cubicBezTo>
                    <a:pt x="702" y="131"/>
                    <a:pt x="702" y="131"/>
                    <a:pt x="702" y="130"/>
                  </a:cubicBezTo>
                  <a:cubicBezTo>
                    <a:pt x="701" y="128"/>
                    <a:pt x="698" y="124"/>
                    <a:pt x="694" y="124"/>
                  </a:cubicBezTo>
                  <a:close/>
                  <a:moveTo>
                    <a:pt x="715" y="185"/>
                  </a:moveTo>
                  <a:cubicBezTo>
                    <a:pt x="710" y="186"/>
                    <a:pt x="711" y="193"/>
                    <a:pt x="715" y="196"/>
                  </a:cubicBezTo>
                  <a:cubicBezTo>
                    <a:pt x="720" y="200"/>
                    <a:pt x="725" y="197"/>
                    <a:pt x="724" y="192"/>
                  </a:cubicBezTo>
                  <a:cubicBezTo>
                    <a:pt x="723" y="189"/>
                    <a:pt x="720" y="185"/>
                    <a:pt x="715" y="185"/>
                  </a:cubicBezTo>
                  <a:close/>
                  <a:moveTo>
                    <a:pt x="719" y="176"/>
                  </a:moveTo>
                  <a:cubicBezTo>
                    <a:pt x="718" y="173"/>
                    <a:pt x="715" y="169"/>
                    <a:pt x="710" y="169"/>
                  </a:cubicBezTo>
                  <a:cubicBezTo>
                    <a:pt x="705" y="170"/>
                    <a:pt x="706" y="177"/>
                    <a:pt x="711" y="180"/>
                  </a:cubicBezTo>
                  <a:cubicBezTo>
                    <a:pt x="715" y="183"/>
                    <a:pt x="720" y="181"/>
                    <a:pt x="719" y="176"/>
                  </a:cubicBezTo>
                  <a:cubicBezTo>
                    <a:pt x="719" y="176"/>
                    <a:pt x="719" y="176"/>
                    <a:pt x="719" y="176"/>
                  </a:cubicBezTo>
                  <a:close/>
                  <a:moveTo>
                    <a:pt x="747" y="149"/>
                  </a:moveTo>
                  <a:cubicBezTo>
                    <a:pt x="751" y="152"/>
                    <a:pt x="755" y="150"/>
                    <a:pt x="754" y="146"/>
                  </a:cubicBezTo>
                  <a:cubicBezTo>
                    <a:pt x="754" y="146"/>
                    <a:pt x="754" y="145"/>
                    <a:pt x="754" y="145"/>
                  </a:cubicBezTo>
                  <a:cubicBezTo>
                    <a:pt x="753" y="142"/>
                    <a:pt x="749" y="138"/>
                    <a:pt x="745" y="139"/>
                  </a:cubicBezTo>
                  <a:cubicBezTo>
                    <a:pt x="740" y="139"/>
                    <a:pt x="743" y="146"/>
                    <a:pt x="747" y="149"/>
                  </a:cubicBezTo>
                  <a:close/>
                  <a:moveTo>
                    <a:pt x="713" y="160"/>
                  </a:moveTo>
                  <a:cubicBezTo>
                    <a:pt x="713" y="157"/>
                    <a:pt x="709" y="153"/>
                    <a:pt x="705" y="153"/>
                  </a:cubicBezTo>
                  <a:cubicBezTo>
                    <a:pt x="700" y="154"/>
                    <a:pt x="701" y="161"/>
                    <a:pt x="705" y="164"/>
                  </a:cubicBezTo>
                  <a:cubicBezTo>
                    <a:pt x="710" y="167"/>
                    <a:pt x="714" y="165"/>
                    <a:pt x="714" y="161"/>
                  </a:cubicBezTo>
                  <a:cubicBezTo>
                    <a:pt x="714" y="161"/>
                    <a:pt x="714" y="160"/>
                    <a:pt x="713" y="160"/>
                  </a:cubicBezTo>
                  <a:close/>
                  <a:moveTo>
                    <a:pt x="738" y="164"/>
                  </a:moveTo>
                  <a:cubicBezTo>
                    <a:pt x="743" y="167"/>
                    <a:pt x="747" y="165"/>
                    <a:pt x="746" y="161"/>
                  </a:cubicBezTo>
                  <a:cubicBezTo>
                    <a:pt x="746" y="161"/>
                    <a:pt x="746" y="160"/>
                    <a:pt x="746" y="160"/>
                  </a:cubicBezTo>
                  <a:cubicBezTo>
                    <a:pt x="745" y="157"/>
                    <a:pt x="741" y="153"/>
                    <a:pt x="737" y="153"/>
                  </a:cubicBezTo>
                  <a:cubicBezTo>
                    <a:pt x="732" y="154"/>
                    <a:pt x="734" y="161"/>
                    <a:pt x="738" y="164"/>
                  </a:cubicBezTo>
                  <a:close/>
                  <a:moveTo>
                    <a:pt x="754" y="134"/>
                  </a:moveTo>
                  <a:cubicBezTo>
                    <a:pt x="758" y="137"/>
                    <a:pt x="761" y="136"/>
                    <a:pt x="761" y="133"/>
                  </a:cubicBezTo>
                  <a:cubicBezTo>
                    <a:pt x="761" y="132"/>
                    <a:pt x="760" y="131"/>
                    <a:pt x="760" y="130"/>
                  </a:cubicBezTo>
                  <a:cubicBezTo>
                    <a:pt x="759" y="128"/>
                    <a:pt x="755" y="124"/>
                    <a:pt x="751" y="124"/>
                  </a:cubicBezTo>
                  <a:cubicBezTo>
                    <a:pt x="747" y="125"/>
                    <a:pt x="749" y="131"/>
                    <a:pt x="754" y="134"/>
                  </a:cubicBezTo>
                  <a:close/>
                  <a:moveTo>
                    <a:pt x="796" y="145"/>
                  </a:moveTo>
                  <a:cubicBezTo>
                    <a:pt x="795" y="142"/>
                    <a:pt x="791" y="138"/>
                    <a:pt x="787" y="139"/>
                  </a:cubicBezTo>
                  <a:cubicBezTo>
                    <a:pt x="783" y="139"/>
                    <a:pt x="786" y="146"/>
                    <a:pt x="791" y="149"/>
                  </a:cubicBezTo>
                  <a:cubicBezTo>
                    <a:pt x="795" y="151"/>
                    <a:pt x="798" y="150"/>
                    <a:pt x="797" y="147"/>
                  </a:cubicBezTo>
                  <a:cubicBezTo>
                    <a:pt x="797" y="147"/>
                    <a:pt x="797" y="146"/>
                    <a:pt x="796" y="145"/>
                  </a:cubicBezTo>
                  <a:close/>
                  <a:moveTo>
                    <a:pt x="800" y="164"/>
                  </a:moveTo>
                  <a:cubicBezTo>
                    <a:pt x="804" y="167"/>
                    <a:pt x="807" y="166"/>
                    <a:pt x="806" y="162"/>
                  </a:cubicBezTo>
                  <a:cubicBezTo>
                    <a:pt x="806" y="161"/>
                    <a:pt x="806" y="161"/>
                    <a:pt x="805" y="160"/>
                  </a:cubicBezTo>
                  <a:cubicBezTo>
                    <a:pt x="804" y="157"/>
                    <a:pt x="800" y="153"/>
                    <a:pt x="796" y="153"/>
                  </a:cubicBezTo>
                  <a:cubicBezTo>
                    <a:pt x="792" y="154"/>
                    <a:pt x="795" y="161"/>
                    <a:pt x="800" y="164"/>
                  </a:cubicBezTo>
                  <a:close/>
                  <a:moveTo>
                    <a:pt x="787" y="130"/>
                  </a:moveTo>
                  <a:cubicBezTo>
                    <a:pt x="785" y="128"/>
                    <a:pt x="781" y="124"/>
                    <a:pt x="778" y="124"/>
                  </a:cubicBezTo>
                  <a:cubicBezTo>
                    <a:pt x="774" y="125"/>
                    <a:pt x="777" y="131"/>
                    <a:pt x="782" y="134"/>
                  </a:cubicBezTo>
                  <a:cubicBezTo>
                    <a:pt x="786" y="137"/>
                    <a:pt x="788" y="136"/>
                    <a:pt x="788" y="133"/>
                  </a:cubicBezTo>
                  <a:cubicBezTo>
                    <a:pt x="788" y="132"/>
                    <a:pt x="787" y="131"/>
                    <a:pt x="787" y="130"/>
                  </a:cubicBezTo>
                  <a:close/>
                  <a:moveTo>
                    <a:pt x="777" y="117"/>
                  </a:moveTo>
                  <a:cubicBezTo>
                    <a:pt x="775" y="114"/>
                    <a:pt x="771" y="110"/>
                    <a:pt x="768" y="111"/>
                  </a:cubicBezTo>
                  <a:cubicBezTo>
                    <a:pt x="765" y="111"/>
                    <a:pt x="768" y="117"/>
                    <a:pt x="772" y="120"/>
                  </a:cubicBezTo>
                  <a:cubicBezTo>
                    <a:pt x="776" y="122"/>
                    <a:pt x="779" y="122"/>
                    <a:pt x="778" y="119"/>
                  </a:cubicBezTo>
                  <a:cubicBezTo>
                    <a:pt x="778" y="118"/>
                    <a:pt x="778" y="117"/>
                    <a:pt x="777" y="117"/>
                  </a:cubicBezTo>
                  <a:close/>
                  <a:moveTo>
                    <a:pt x="759" y="120"/>
                  </a:moveTo>
                  <a:cubicBezTo>
                    <a:pt x="763" y="122"/>
                    <a:pt x="766" y="122"/>
                    <a:pt x="765" y="119"/>
                  </a:cubicBezTo>
                  <a:cubicBezTo>
                    <a:pt x="765" y="118"/>
                    <a:pt x="765" y="117"/>
                    <a:pt x="764" y="117"/>
                  </a:cubicBezTo>
                  <a:cubicBezTo>
                    <a:pt x="763" y="114"/>
                    <a:pt x="759" y="110"/>
                    <a:pt x="756" y="111"/>
                  </a:cubicBezTo>
                  <a:cubicBezTo>
                    <a:pt x="752" y="111"/>
                    <a:pt x="755" y="117"/>
                    <a:pt x="759" y="120"/>
                  </a:cubicBezTo>
                  <a:close/>
                  <a:moveTo>
                    <a:pt x="625" y="231"/>
                  </a:moveTo>
                  <a:cubicBezTo>
                    <a:pt x="629" y="234"/>
                    <a:pt x="636" y="231"/>
                    <a:pt x="636" y="226"/>
                  </a:cubicBezTo>
                  <a:cubicBezTo>
                    <a:pt x="636" y="223"/>
                    <a:pt x="633" y="218"/>
                    <a:pt x="627" y="218"/>
                  </a:cubicBezTo>
                  <a:cubicBezTo>
                    <a:pt x="621" y="219"/>
                    <a:pt x="620" y="227"/>
                    <a:pt x="625" y="231"/>
                  </a:cubicBezTo>
                  <a:close/>
                  <a:moveTo>
                    <a:pt x="367" y="79"/>
                  </a:moveTo>
                  <a:cubicBezTo>
                    <a:pt x="370" y="76"/>
                    <a:pt x="371" y="73"/>
                    <a:pt x="369" y="73"/>
                  </a:cubicBezTo>
                  <a:cubicBezTo>
                    <a:pt x="369" y="73"/>
                    <a:pt x="368" y="73"/>
                    <a:pt x="368" y="73"/>
                  </a:cubicBezTo>
                  <a:cubicBezTo>
                    <a:pt x="363" y="74"/>
                    <a:pt x="357" y="81"/>
                    <a:pt x="359" y="83"/>
                  </a:cubicBezTo>
                  <a:cubicBezTo>
                    <a:pt x="360" y="83"/>
                    <a:pt x="364" y="81"/>
                    <a:pt x="367" y="79"/>
                  </a:cubicBezTo>
                  <a:close/>
                  <a:moveTo>
                    <a:pt x="645" y="201"/>
                  </a:moveTo>
                  <a:cubicBezTo>
                    <a:pt x="639" y="202"/>
                    <a:pt x="638" y="210"/>
                    <a:pt x="643" y="213"/>
                  </a:cubicBezTo>
                  <a:cubicBezTo>
                    <a:pt x="648" y="217"/>
                    <a:pt x="654" y="214"/>
                    <a:pt x="654" y="209"/>
                  </a:cubicBezTo>
                  <a:cubicBezTo>
                    <a:pt x="653" y="205"/>
                    <a:pt x="650" y="201"/>
                    <a:pt x="645" y="201"/>
                  </a:cubicBezTo>
                  <a:close/>
                  <a:moveTo>
                    <a:pt x="637" y="153"/>
                  </a:moveTo>
                  <a:cubicBezTo>
                    <a:pt x="631" y="154"/>
                    <a:pt x="631" y="161"/>
                    <a:pt x="635" y="164"/>
                  </a:cubicBezTo>
                  <a:cubicBezTo>
                    <a:pt x="640" y="167"/>
                    <a:pt x="645" y="165"/>
                    <a:pt x="645" y="160"/>
                  </a:cubicBezTo>
                  <a:cubicBezTo>
                    <a:pt x="645" y="157"/>
                    <a:pt x="642" y="153"/>
                    <a:pt x="637" y="153"/>
                  </a:cubicBezTo>
                  <a:close/>
                  <a:moveTo>
                    <a:pt x="625" y="201"/>
                  </a:moveTo>
                  <a:cubicBezTo>
                    <a:pt x="619" y="202"/>
                    <a:pt x="618" y="210"/>
                    <a:pt x="623" y="213"/>
                  </a:cubicBezTo>
                  <a:cubicBezTo>
                    <a:pt x="628" y="217"/>
                    <a:pt x="634" y="214"/>
                    <a:pt x="634" y="209"/>
                  </a:cubicBezTo>
                  <a:cubicBezTo>
                    <a:pt x="634" y="205"/>
                    <a:pt x="631" y="201"/>
                    <a:pt x="625" y="201"/>
                  </a:cubicBezTo>
                  <a:close/>
                  <a:moveTo>
                    <a:pt x="805" y="149"/>
                  </a:moveTo>
                  <a:cubicBezTo>
                    <a:pt x="808" y="151"/>
                    <a:pt x="811" y="150"/>
                    <a:pt x="810" y="147"/>
                  </a:cubicBezTo>
                  <a:cubicBezTo>
                    <a:pt x="810" y="147"/>
                    <a:pt x="810" y="146"/>
                    <a:pt x="809" y="145"/>
                  </a:cubicBezTo>
                  <a:cubicBezTo>
                    <a:pt x="808" y="142"/>
                    <a:pt x="804" y="138"/>
                    <a:pt x="800" y="139"/>
                  </a:cubicBezTo>
                  <a:cubicBezTo>
                    <a:pt x="797" y="139"/>
                    <a:pt x="800" y="146"/>
                    <a:pt x="805" y="149"/>
                  </a:cubicBezTo>
                  <a:close/>
                  <a:moveTo>
                    <a:pt x="688" y="164"/>
                  </a:moveTo>
                  <a:cubicBezTo>
                    <a:pt x="693" y="167"/>
                    <a:pt x="698" y="165"/>
                    <a:pt x="697" y="160"/>
                  </a:cubicBezTo>
                  <a:cubicBezTo>
                    <a:pt x="696" y="157"/>
                    <a:pt x="693" y="153"/>
                    <a:pt x="688" y="153"/>
                  </a:cubicBezTo>
                  <a:cubicBezTo>
                    <a:pt x="683" y="154"/>
                    <a:pt x="684" y="161"/>
                    <a:pt x="688" y="164"/>
                  </a:cubicBezTo>
                  <a:close/>
                  <a:moveTo>
                    <a:pt x="647" y="218"/>
                  </a:moveTo>
                  <a:cubicBezTo>
                    <a:pt x="641" y="219"/>
                    <a:pt x="640" y="227"/>
                    <a:pt x="645" y="231"/>
                  </a:cubicBezTo>
                  <a:cubicBezTo>
                    <a:pt x="650" y="234"/>
                    <a:pt x="656" y="231"/>
                    <a:pt x="656" y="226"/>
                  </a:cubicBezTo>
                  <a:cubicBezTo>
                    <a:pt x="656" y="223"/>
                    <a:pt x="653" y="218"/>
                    <a:pt x="647" y="218"/>
                  </a:cubicBezTo>
                  <a:close/>
                  <a:moveTo>
                    <a:pt x="650" y="236"/>
                  </a:moveTo>
                  <a:cubicBezTo>
                    <a:pt x="643" y="237"/>
                    <a:pt x="642" y="245"/>
                    <a:pt x="647" y="248"/>
                  </a:cubicBezTo>
                  <a:cubicBezTo>
                    <a:pt x="652" y="252"/>
                    <a:pt x="659" y="249"/>
                    <a:pt x="659" y="244"/>
                  </a:cubicBezTo>
                  <a:cubicBezTo>
                    <a:pt x="659" y="240"/>
                    <a:pt x="655" y="236"/>
                    <a:pt x="650" y="236"/>
                  </a:cubicBezTo>
                  <a:close/>
                  <a:moveTo>
                    <a:pt x="673" y="111"/>
                  </a:moveTo>
                  <a:cubicBezTo>
                    <a:pt x="669" y="111"/>
                    <a:pt x="670" y="117"/>
                    <a:pt x="673" y="120"/>
                  </a:cubicBezTo>
                  <a:cubicBezTo>
                    <a:pt x="677" y="123"/>
                    <a:pt x="682" y="122"/>
                    <a:pt x="681" y="118"/>
                  </a:cubicBezTo>
                  <a:cubicBezTo>
                    <a:pt x="681" y="117"/>
                    <a:pt x="681" y="117"/>
                    <a:pt x="681" y="117"/>
                  </a:cubicBezTo>
                  <a:cubicBezTo>
                    <a:pt x="680" y="114"/>
                    <a:pt x="677" y="110"/>
                    <a:pt x="673" y="111"/>
                  </a:cubicBezTo>
                  <a:close/>
                  <a:moveTo>
                    <a:pt x="687" y="130"/>
                  </a:moveTo>
                  <a:cubicBezTo>
                    <a:pt x="686" y="128"/>
                    <a:pt x="683" y="124"/>
                    <a:pt x="678" y="124"/>
                  </a:cubicBezTo>
                  <a:cubicBezTo>
                    <a:pt x="674" y="125"/>
                    <a:pt x="675" y="131"/>
                    <a:pt x="679" y="134"/>
                  </a:cubicBezTo>
                  <a:cubicBezTo>
                    <a:pt x="683" y="137"/>
                    <a:pt x="687" y="135"/>
                    <a:pt x="687" y="131"/>
                  </a:cubicBezTo>
                  <a:cubicBezTo>
                    <a:pt x="687" y="131"/>
                    <a:pt x="687" y="131"/>
                    <a:pt x="687" y="130"/>
                  </a:cubicBezTo>
                  <a:close/>
                  <a:moveTo>
                    <a:pt x="660" y="196"/>
                  </a:moveTo>
                  <a:cubicBezTo>
                    <a:pt x="664" y="200"/>
                    <a:pt x="670" y="197"/>
                    <a:pt x="670" y="192"/>
                  </a:cubicBezTo>
                  <a:cubicBezTo>
                    <a:pt x="669" y="189"/>
                    <a:pt x="666" y="185"/>
                    <a:pt x="661" y="185"/>
                  </a:cubicBezTo>
                  <a:cubicBezTo>
                    <a:pt x="655" y="186"/>
                    <a:pt x="655" y="193"/>
                    <a:pt x="660" y="196"/>
                  </a:cubicBezTo>
                  <a:close/>
                  <a:moveTo>
                    <a:pt x="663" y="124"/>
                  </a:moveTo>
                  <a:cubicBezTo>
                    <a:pt x="658" y="125"/>
                    <a:pt x="659" y="131"/>
                    <a:pt x="663" y="134"/>
                  </a:cubicBezTo>
                  <a:cubicBezTo>
                    <a:pt x="667" y="137"/>
                    <a:pt x="672" y="135"/>
                    <a:pt x="671" y="130"/>
                  </a:cubicBezTo>
                  <a:cubicBezTo>
                    <a:pt x="670" y="128"/>
                    <a:pt x="667" y="124"/>
                    <a:pt x="663" y="124"/>
                  </a:cubicBezTo>
                  <a:close/>
                  <a:moveTo>
                    <a:pt x="946" y="287"/>
                  </a:moveTo>
                  <a:cubicBezTo>
                    <a:pt x="950" y="289"/>
                    <a:pt x="952" y="286"/>
                    <a:pt x="950" y="281"/>
                  </a:cubicBezTo>
                  <a:cubicBezTo>
                    <a:pt x="950" y="281"/>
                    <a:pt x="950" y="281"/>
                    <a:pt x="950" y="281"/>
                  </a:cubicBezTo>
                  <a:cubicBezTo>
                    <a:pt x="949" y="277"/>
                    <a:pt x="945" y="272"/>
                    <a:pt x="941" y="272"/>
                  </a:cubicBezTo>
                  <a:cubicBezTo>
                    <a:pt x="937" y="274"/>
                    <a:pt x="941" y="284"/>
                    <a:pt x="946" y="287"/>
                  </a:cubicBezTo>
                  <a:close/>
                  <a:moveTo>
                    <a:pt x="812" y="130"/>
                  </a:moveTo>
                  <a:cubicBezTo>
                    <a:pt x="810" y="128"/>
                    <a:pt x="806" y="124"/>
                    <a:pt x="803" y="124"/>
                  </a:cubicBezTo>
                  <a:cubicBezTo>
                    <a:pt x="799" y="125"/>
                    <a:pt x="803" y="131"/>
                    <a:pt x="808" y="134"/>
                  </a:cubicBezTo>
                  <a:cubicBezTo>
                    <a:pt x="811" y="136"/>
                    <a:pt x="814" y="136"/>
                    <a:pt x="813" y="133"/>
                  </a:cubicBezTo>
                  <a:cubicBezTo>
                    <a:pt x="813" y="132"/>
                    <a:pt x="812" y="131"/>
                    <a:pt x="812" y="130"/>
                  </a:cubicBezTo>
                  <a:close/>
                  <a:moveTo>
                    <a:pt x="971" y="300"/>
                  </a:moveTo>
                  <a:cubicBezTo>
                    <a:pt x="971" y="300"/>
                    <a:pt x="971" y="300"/>
                    <a:pt x="971" y="300"/>
                  </a:cubicBezTo>
                  <a:cubicBezTo>
                    <a:pt x="970" y="296"/>
                    <a:pt x="966" y="291"/>
                    <a:pt x="963" y="291"/>
                  </a:cubicBezTo>
                  <a:cubicBezTo>
                    <a:pt x="958" y="293"/>
                    <a:pt x="962" y="303"/>
                    <a:pt x="967" y="306"/>
                  </a:cubicBezTo>
                  <a:cubicBezTo>
                    <a:pt x="971" y="308"/>
                    <a:pt x="973" y="305"/>
                    <a:pt x="971" y="300"/>
                  </a:cubicBezTo>
                  <a:close/>
                  <a:moveTo>
                    <a:pt x="398" y="1083"/>
                  </a:moveTo>
                  <a:cubicBezTo>
                    <a:pt x="397" y="1083"/>
                    <a:pt x="389" y="1080"/>
                    <a:pt x="389" y="1080"/>
                  </a:cubicBezTo>
                  <a:cubicBezTo>
                    <a:pt x="389" y="1081"/>
                    <a:pt x="402" y="1086"/>
                    <a:pt x="404" y="1086"/>
                  </a:cubicBezTo>
                  <a:cubicBezTo>
                    <a:pt x="404" y="1086"/>
                    <a:pt x="404" y="1085"/>
                    <a:pt x="398" y="1083"/>
                  </a:cubicBezTo>
                  <a:close/>
                  <a:moveTo>
                    <a:pt x="954" y="306"/>
                  </a:moveTo>
                  <a:cubicBezTo>
                    <a:pt x="957" y="308"/>
                    <a:pt x="960" y="305"/>
                    <a:pt x="958" y="300"/>
                  </a:cubicBezTo>
                  <a:cubicBezTo>
                    <a:pt x="957" y="296"/>
                    <a:pt x="953" y="291"/>
                    <a:pt x="949" y="291"/>
                  </a:cubicBezTo>
                  <a:cubicBezTo>
                    <a:pt x="945" y="293"/>
                    <a:pt x="949" y="303"/>
                    <a:pt x="954" y="306"/>
                  </a:cubicBezTo>
                  <a:close/>
                  <a:moveTo>
                    <a:pt x="413" y="117"/>
                  </a:moveTo>
                  <a:cubicBezTo>
                    <a:pt x="415" y="114"/>
                    <a:pt x="415" y="110"/>
                    <a:pt x="411" y="111"/>
                  </a:cubicBezTo>
                  <a:cubicBezTo>
                    <a:pt x="405" y="112"/>
                    <a:pt x="401" y="118"/>
                    <a:pt x="404" y="121"/>
                  </a:cubicBezTo>
                  <a:cubicBezTo>
                    <a:pt x="406" y="123"/>
                    <a:pt x="411" y="120"/>
                    <a:pt x="413" y="117"/>
                  </a:cubicBezTo>
                  <a:close/>
                  <a:moveTo>
                    <a:pt x="279" y="124"/>
                  </a:moveTo>
                  <a:cubicBezTo>
                    <a:pt x="279" y="124"/>
                    <a:pt x="279" y="124"/>
                    <a:pt x="279" y="124"/>
                  </a:cubicBezTo>
                  <a:cubicBezTo>
                    <a:pt x="274" y="125"/>
                    <a:pt x="267" y="134"/>
                    <a:pt x="269" y="135"/>
                  </a:cubicBezTo>
                  <a:cubicBezTo>
                    <a:pt x="270" y="136"/>
                    <a:pt x="274" y="134"/>
                    <a:pt x="278" y="130"/>
                  </a:cubicBezTo>
                  <a:cubicBezTo>
                    <a:pt x="281" y="127"/>
                    <a:pt x="281" y="124"/>
                    <a:pt x="279" y="124"/>
                  </a:cubicBezTo>
                  <a:close/>
                  <a:moveTo>
                    <a:pt x="417" y="1090"/>
                  </a:moveTo>
                  <a:cubicBezTo>
                    <a:pt x="415" y="1089"/>
                    <a:pt x="408" y="1087"/>
                    <a:pt x="408" y="1087"/>
                  </a:cubicBezTo>
                  <a:cubicBezTo>
                    <a:pt x="409" y="1088"/>
                    <a:pt x="422" y="1092"/>
                    <a:pt x="423" y="1092"/>
                  </a:cubicBezTo>
                  <a:cubicBezTo>
                    <a:pt x="423" y="1092"/>
                    <a:pt x="423" y="1092"/>
                    <a:pt x="417" y="1090"/>
                  </a:cubicBezTo>
                  <a:close/>
                  <a:moveTo>
                    <a:pt x="428" y="117"/>
                  </a:moveTo>
                  <a:cubicBezTo>
                    <a:pt x="429" y="114"/>
                    <a:pt x="429" y="110"/>
                    <a:pt x="425" y="111"/>
                  </a:cubicBezTo>
                  <a:cubicBezTo>
                    <a:pt x="419" y="112"/>
                    <a:pt x="416" y="118"/>
                    <a:pt x="418" y="121"/>
                  </a:cubicBezTo>
                  <a:cubicBezTo>
                    <a:pt x="421" y="123"/>
                    <a:pt x="426" y="120"/>
                    <a:pt x="428" y="117"/>
                  </a:cubicBezTo>
                  <a:close/>
                  <a:moveTo>
                    <a:pt x="1061" y="311"/>
                  </a:moveTo>
                  <a:cubicBezTo>
                    <a:pt x="1059" y="313"/>
                    <a:pt x="1066" y="326"/>
                    <a:pt x="1068" y="326"/>
                  </a:cubicBezTo>
                  <a:cubicBezTo>
                    <a:pt x="1068" y="326"/>
                    <a:pt x="1068" y="323"/>
                    <a:pt x="1066" y="319"/>
                  </a:cubicBezTo>
                  <a:cubicBezTo>
                    <a:pt x="1064" y="315"/>
                    <a:pt x="1062" y="310"/>
                    <a:pt x="1061" y="311"/>
                  </a:cubicBezTo>
                  <a:close/>
                  <a:moveTo>
                    <a:pt x="626" y="248"/>
                  </a:moveTo>
                  <a:cubicBezTo>
                    <a:pt x="631" y="252"/>
                    <a:pt x="638" y="249"/>
                    <a:pt x="638" y="244"/>
                  </a:cubicBezTo>
                  <a:cubicBezTo>
                    <a:pt x="638" y="240"/>
                    <a:pt x="635" y="236"/>
                    <a:pt x="629" y="236"/>
                  </a:cubicBezTo>
                  <a:cubicBezTo>
                    <a:pt x="622" y="237"/>
                    <a:pt x="621" y="245"/>
                    <a:pt x="626" y="248"/>
                  </a:cubicBezTo>
                  <a:close/>
                  <a:moveTo>
                    <a:pt x="434" y="103"/>
                  </a:moveTo>
                  <a:cubicBezTo>
                    <a:pt x="435" y="101"/>
                    <a:pt x="436" y="97"/>
                    <a:pt x="432" y="98"/>
                  </a:cubicBezTo>
                  <a:cubicBezTo>
                    <a:pt x="426" y="98"/>
                    <a:pt x="422" y="105"/>
                    <a:pt x="425" y="107"/>
                  </a:cubicBezTo>
                  <a:cubicBezTo>
                    <a:pt x="427" y="109"/>
                    <a:pt x="432" y="107"/>
                    <a:pt x="434" y="103"/>
                  </a:cubicBezTo>
                  <a:close/>
                  <a:moveTo>
                    <a:pt x="1056" y="311"/>
                  </a:moveTo>
                  <a:cubicBezTo>
                    <a:pt x="1053" y="313"/>
                    <a:pt x="1061" y="326"/>
                    <a:pt x="1063" y="326"/>
                  </a:cubicBezTo>
                  <a:cubicBezTo>
                    <a:pt x="1064" y="326"/>
                    <a:pt x="1063" y="323"/>
                    <a:pt x="1061" y="319"/>
                  </a:cubicBezTo>
                  <a:cubicBezTo>
                    <a:pt x="1060" y="315"/>
                    <a:pt x="1057" y="310"/>
                    <a:pt x="1056" y="311"/>
                  </a:cubicBezTo>
                  <a:close/>
                  <a:moveTo>
                    <a:pt x="1050" y="311"/>
                  </a:moveTo>
                  <a:cubicBezTo>
                    <a:pt x="1047" y="312"/>
                    <a:pt x="1054" y="326"/>
                    <a:pt x="1056" y="326"/>
                  </a:cubicBezTo>
                  <a:cubicBezTo>
                    <a:pt x="1058" y="327"/>
                    <a:pt x="1058" y="324"/>
                    <a:pt x="1056" y="319"/>
                  </a:cubicBezTo>
                  <a:cubicBezTo>
                    <a:pt x="1054" y="315"/>
                    <a:pt x="1051" y="310"/>
                    <a:pt x="1050" y="311"/>
                  </a:cubicBezTo>
                  <a:close/>
                  <a:moveTo>
                    <a:pt x="290" y="124"/>
                  </a:moveTo>
                  <a:cubicBezTo>
                    <a:pt x="290" y="124"/>
                    <a:pt x="290" y="124"/>
                    <a:pt x="289" y="124"/>
                  </a:cubicBezTo>
                  <a:cubicBezTo>
                    <a:pt x="284" y="125"/>
                    <a:pt x="277" y="134"/>
                    <a:pt x="279" y="135"/>
                  </a:cubicBezTo>
                  <a:cubicBezTo>
                    <a:pt x="281" y="136"/>
                    <a:pt x="285" y="134"/>
                    <a:pt x="288" y="130"/>
                  </a:cubicBezTo>
                  <a:cubicBezTo>
                    <a:pt x="291" y="127"/>
                    <a:pt x="292" y="124"/>
                    <a:pt x="290" y="124"/>
                  </a:cubicBezTo>
                  <a:close/>
                  <a:moveTo>
                    <a:pt x="829" y="107"/>
                  </a:moveTo>
                  <a:cubicBezTo>
                    <a:pt x="831" y="108"/>
                    <a:pt x="833" y="108"/>
                    <a:pt x="832" y="107"/>
                  </a:cubicBezTo>
                  <a:cubicBezTo>
                    <a:pt x="832" y="106"/>
                    <a:pt x="831" y="105"/>
                    <a:pt x="830" y="103"/>
                  </a:cubicBezTo>
                  <a:cubicBezTo>
                    <a:pt x="828" y="101"/>
                    <a:pt x="823" y="97"/>
                    <a:pt x="821" y="98"/>
                  </a:cubicBezTo>
                  <a:cubicBezTo>
                    <a:pt x="818" y="98"/>
                    <a:pt x="824" y="105"/>
                    <a:pt x="829" y="107"/>
                  </a:cubicBezTo>
                  <a:close/>
                  <a:moveTo>
                    <a:pt x="893" y="231"/>
                  </a:moveTo>
                  <a:cubicBezTo>
                    <a:pt x="897" y="233"/>
                    <a:pt x="899" y="232"/>
                    <a:pt x="898" y="227"/>
                  </a:cubicBezTo>
                  <a:cubicBezTo>
                    <a:pt x="898" y="227"/>
                    <a:pt x="897" y="226"/>
                    <a:pt x="897" y="226"/>
                  </a:cubicBezTo>
                  <a:cubicBezTo>
                    <a:pt x="896" y="223"/>
                    <a:pt x="892" y="218"/>
                    <a:pt x="888" y="218"/>
                  </a:cubicBezTo>
                  <a:cubicBezTo>
                    <a:pt x="884" y="220"/>
                    <a:pt x="888" y="228"/>
                    <a:pt x="893" y="231"/>
                  </a:cubicBezTo>
                  <a:close/>
                  <a:moveTo>
                    <a:pt x="814" y="111"/>
                  </a:moveTo>
                  <a:cubicBezTo>
                    <a:pt x="811" y="111"/>
                    <a:pt x="815" y="117"/>
                    <a:pt x="820" y="120"/>
                  </a:cubicBezTo>
                  <a:cubicBezTo>
                    <a:pt x="823" y="122"/>
                    <a:pt x="825" y="122"/>
                    <a:pt x="825" y="119"/>
                  </a:cubicBezTo>
                  <a:cubicBezTo>
                    <a:pt x="825" y="119"/>
                    <a:pt x="824" y="118"/>
                    <a:pt x="823" y="117"/>
                  </a:cubicBezTo>
                  <a:cubicBezTo>
                    <a:pt x="821" y="114"/>
                    <a:pt x="817" y="110"/>
                    <a:pt x="814" y="111"/>
                  </a:cubicBezTo>
                  <a:close/>
                  <a:moveTo>
                    <a:pt x="825" y="94"/>
                  </a:moveTo>
                  <a:cubicBezTo>
                    <a:pt x="827" y="95"/>
                    <a:pt x="828" y="95"/>
                    <a:pt x="828" y="94"/>
                  </a:cubicBezTo>
                  <a:cubicBezTo>
                    <a:pt x="827" y="93"/>
                    <a:pt x="826" y="92"/>
                    <a:pt x="825" y="91"/>
                  </a:cubicBezTo>
                  <a:cubicBezTo>
                    <a:pt x="822" y="88"/>
                    <a:pt x="818" y="85"/>
                    <a:pt x="816" y="85"/>
                  </a:cubicBezTo>
                  <a:cubicBezTo>
                    <a:pt x="813" y="86"/>
                    <a:pt x="820" y="92"/>
                    <a:pt x="825" y="94"/>
                  </a:cubicBezTo>
                  <a:close/>
                  <a:moveTo>
                    <a:pt x="818" y="149"/>
                  </a:moveTo>
                  <a:cubicBezTo>
                    <a:pt x="821" y="151"/>
                    <a:pt x="824" y="151"/>
                    <a:pt x="823" y="148"/>
                  </a:cubicBezTo>
                  <a:cubicBezTo>
                    <a:pt x="823" y="147"/>
                    <a:pt x="823" y="146"/>
                    <a:pt x="822" y="145"/>
                  </a:cubicBezTo>
                  <a:cubicBezTo>
                    <a:pt x="821" y="142"/>
                    <a:pt x="816" y="138"/>
                    <a:pt x="813" y="139"/>
                  </a:cubicBezTo>
                  <a:cubicBezTo>
                    <a:pt x="809" y="139"/>
                    <a:pt x="813" y="146"/>
                    <a:pt x="818" y="149"/>
                  </a:cubicBezTo>
                  <a:close/>
                  <a:moveTo>
                    <a:pt x="820" y="134"/>
                  </a:moveTo>
                  <a:cubicBezTo>
                    <a:pt x="823" y="136"/>
                    <a:pt x="826" y="136"/>
                    <a:pt x="825" y="133"/>
                  </a:cubicBezTo>
                  <a:cubicBezTo>
                    <a:pt x="825" y="132"/>
                    <a:pt x="824" y="131"/>
                    <a:pt x="824" y="130"/>
                  </a:cubicBezTo>
                  <a:cubicBezTo>
                    <a:pt x="822" y="128"/>
                    <a:pt x="817" y="124"/>
                    <a:pt x="814" y="124"/>
                  </a:cubicBezTo>
                  <a:cubicBezTo>
                    <a:pt x="811" y="125"/>
                    <a:pt x="815" y="131"/>
                    <a:pt x="820" y="134"/>
                  </a:cubicBezTo>
                  <a:close/>
                  <a:moveTo>
                    <a:pt x="929" y="249"/>
                  </a:moveTo>
                  <a:cubicBezTo>
                    <a:pt x="932" y="251"/>
                    <a:pt x="934" y="250"/>
                    <a:pt x="933" y="246"/>
                  </a:cubicBezTo>
                  <a:cubicBezTo>
                    <a:pt x="933" y="245"/>
                    <a:pt x="933" y="244"/>
                    <a:pt x="933" y="244"/>
                  </a:cubicBezTo>
                  <a:cubicBezTo>
                    <a:pt x="931" y="240"/>
                    <a:pt x="927" y="236"/>
                    <a:pt x="924" y="236"/>
                  </a:cubicBezTo>
                  <a:cubicBezTo>
                    <a:pt x="920" y="237"/>
                    <a:pt x="924" y="246"/>
                    <a:pt x="929" y="249"/>
                  </a:cubicBezTo>
                  <a:close/>
                  <a:moveTo>
                    <a:pt x="920" y="231"/>
                  </a:moveTo>
                  <a:cubicBezTo>
                    <a:pt x="923" y="233"/>
                    <a:pt x="925" y="232"/>
                    <a:pt x="924" y="228"/>
                  </a:cubicBezTo>
                  <a:cubicBezTo>
                    <a:pt x="924" y="227"/>
                    <a:pt x="923" y="227"/>
                    <a:pt x="923" y="226"/>
                  </a:cubicBezTo>
                  <a:cubicBezTo>
                    <a:pt x="922" y="223"/>
                    <a:pt x="917" y="218"/>
                    <a:pt x="914" y="218"/>
                  </a:cubicBezTo>
                  <a:cubicBezTo>
                    <a:pt x="910" y="220"/>
                    <a:pt x="915" y="228"/>
                    <a:pt x="920" y="231"/>
                  </a:cubicBezTo>
                  <a:close/>
                  <a:moveTo>
                    <a:pt x="937" y="268"/>
                  </a:moveTo>
                  <a:cubicBezTo>
                    <a:pt x="941" y="270"/>
                    <a:pt x="943" y="268"/>
                    <a:pt x="942" y="264"/>
                  </a:cubicBezTo>
                  <a:cubicBezTo>
                    <a:pt x="942" y="263"/>
                    <a:pt x="942" y="263"/>
                    <a:pt x="942" y="262"/>
                  </a:cubicBezTo>
                  <a:cubicBezTo>
                    <a:pt x="940" y="258"/>
                    <a:pt x="936" y="254"/>
                    <a:pt x="933" y="254"/>
                  </a:cubicBezTo>
                  <a:cubicBezTo>
                    <a:pt x="929" y="255"/>
                    <a:pt x="932" y="265"/>
                    <a:pt x="937" y="268"/>
                  </a:cubicBezTo>
                  <a:close/>
                  <a:moveTo>
                    <a:pt x="907" y="231"/>
                  </a:moveTo>
                  <a:cubicBezTo>
                    <a:pt x="910" y="233"/>
                    <a:pt x="912" y="232"/>
                    <a:pt x="911" y="228"/>
                  </a:cubicBezTo>
                  <a:cubicBezTo>
                    <a:pt x="911" y="227"/>
                    <a:pt x="911" y="227"/>
                    <a:pt x="911" y="226"/>
                  </a:cubicBezTo>
                  <a:cubicBezTo>
                    <a:pt x="909" y="223"/>
                    <a:pt x="905" y="218"/>
                    <a:pt x="901" y="218"/>
                  </a:cubicBezTo>
                  <a:cubicBezTo>
                    <a:pt x="897" y="220"/>
                    <a:pt x="902" y="228"/>
                    <a:pt x="907" y="231"/>
                  </a:cubicBezTo>
                  <a:close/>
                  <a:moveTo>
                    <a:pt x="902" y="211"/>
                  </a:moveTo>
                  <a:cubicBezTo>
                    <a:pt x="902" y="210"/>
                    <a:pt x="901" y="209"/>
                    <a:pt x="901" y="209"/>
                  </a:cubicBezTo>
                  <a:cubicBezTo>
                    <a:pt x="899" y="205"/>
                    <a:pt x="895" y="201"/>
                    <a:pt x="892" y="201"/>
                  </a:cubicBezTo>
                  <a:cubicBezTo>
                    <a:pt x="888" y="202"/>
                    <a:pt x="892" y="211"/>
                    <a:pt x="897" y="214"/>
                  </a:cubicBezTo>
                  <a:cubicBezTo>
                    <a:pt x="901" y="216"/>
                    <a:pt x="903" y="214"/>
                    <a:pt x="902" y="211"/>
                  </a:cubicBezTo>
                  <a:close/>
                  <a:moveTo>
                    <a:pt x="914" y="211"/>
                  </a:moveTo>
                  <a:cubicBezTo>
                    <a:pt x="914" y="211"/>
                    <a:pt x="914" y="210"/>
                    <a:pt x="913" y="209"/>
                  </a:cubicBezTo>
                  <a:cubicBezTo>
                    <a:pt x="911" y="205"/>
                    <a:pt x="907" y="201"/>
                    <a:pt x="904" y="201"/>
                  </a:cubicBezTo>
                  <a:cubicBezTo>
                    <a:pt x="900" y="202"/>
                    <a:pt x="905" y="211"/>
                    <a:pt x="910" y="214"/>
                  </a:cubicBezTo>
                  <a:cubicBezTo>
                    <a:pt x="913" y="216"/>
                    <a:pt x="915" y="215"/>
                    <a:pt x="914" y="211"/>
                  </a:cubicBezTo>
                  <a:close/>
                  <a:moveTo>
                    <a:pt x="720" y="201"/>
                  </a:moveTo>
                  <a:cubicBezTo>
                    <a:pt x="714" y="202"/>
                    <a:pt x="715" y="210"/>
                    <a:pt x="720" y="213"/>
                  </a:cubicBezTo>
                  <a:cubicBezTo>
                    <a:pt x="725" y="217"/>
                    <a:pt x="730" y="214"/>
                    <a:pt x="729" y="209"/>
                  </a:cubicBezTo>
                  <a:cubicBezTo>
                    <a:pt x="729" y="205"/>
                    <a:pt x="725" y="201"/>
                    <a:pt x="720" y="201"/>
                  </a:cubicBezTo>
                  <a:close/>
                  <a:moveTo>
                    <a:pt x="706" y="218"/>
                  </a:moveTo>
                  <a:cubicBezTo>
                    <a:pt x="700" y="219"/>
                    <a:pt x="700" y="227"/>
                    <a:pt x="705" y="231"/>
                  </a:cubicBezTo>
                  <a:cubicBezTo>
                    <a:pt x="710" y="234"/>
                    <a:pt x="716" y="231"/>
                    <a:pt x="715" y="226"/>
                  </a:cubicBezTo>
                  <a:cubicBezTo>
                    <a:pt x="715" y="223"/>
                    <a:pt x="711" y="218"/>
                    <a:pt x="706" y="218"/>
                  </a:cubicBezTo>
                  <a:close/>
                  <a:moveTo>
                    <a:pt x="745" y="180"/>
                  </a:moveTo>
                  <a:cubicBezTo>
                    <a:pt x="749" y="183"/>
                    <a:pt x="754" y="181"/>
                    <a:pt x="752" y="176"/>
                  </a:cubicBezTo>
                  <a:cubicBezTo>
                    <a:pt x="752" y="176"/>
                    <a:pt x="752" y="176"/>
                    <a:pt x="752" y="176"/>
                  </a:cubicBezTo>
                  <a:cubicBezTo>
                    <a:pt x="751" y="173"/>
                    <a:pt x="748" y="169"/>
                    <a:pt x="743" y="169"/>
                  </a:cubicBezTo>
                  <a:cubicBezTo>
                    <a:pt x="738" y="170"/>
                    <a:pt x="740" y="177"/>
                    <a:pt x="745" y="180"/>
                  </a:cubicBezTo>
                  <a:close/>
                  <a:moveTo>
                    <a:pt x="702" y="201"/>
                  </a:moveTo>
                  <a:cubicBezTo>
                    <a:pt x="696" y="202"/>
                    <a:pt x="696" y="210"/>
                    <a:pt x="701" y="213"/>
                  </a:cubicBezTo>
                  <a:cubicBezTo>
                    <a:pt x="706" y="217"/>
                    <a:pt x="712" y="214"/>
                    <a:pt x="711" y="209"/>
                  </a:cubicBezTo>
                  <a:cubicBezTo>
                    <a:pt x="710" y="205"/>
                    <a:pt x="707" y="201"/>
                    <a:pt x="702" y="201"/>
                  </a:cubicBezTo>
                  <a:close/>
                  <a:moveTo>
                    <a:pt x="709" y="248"/>
                  </a:moveTo>
                  <a:cubicBezTo>
                    <a:pt x="714" y="252"/>
                    <a:pt x="720" y="249"/>
                    <a:pt x="719" y="244"/>
                  </a:cubicBezTo>
                  <a:cubicBezTo>
                    <a:pt x="719" y="240"/>
                    <a:pt x="715" y="236"/>
                    <a:pt x="710" y="236"/>
                  </a:cubicBezTo>
                  <a:cubicBezTo>
                    <a:pt x="704" y="237"/>
                    <a:pt x="704" y="245"/>
                    <a:pt x="709" y="248"/>
                  </a:cubicBezTo>
                  <a:close/>
                  <a:moveTo>
                    <a:pt x="733" y="185"/>
                  </a:moveTo>
                  <a:cubicBezTo>
                    <a:pt x="727" y="186"/>
                    <a:pt x="728" y="193"/>
                    <a:pt x="733" y="196"/>
                  </a:cubicBezTo>
                  <a:cubicBezTo>
                    <a:pt x="738" y="200"/>
                    <a:pt x="743" y="197"/>
                    <a:pt x="742" y="193"/>
                  </a:cubicBezTo>
                  <a:cubicBezTo>
                    <a:pt x="742" y="192"/>
                    <a:pt x="742" y="192"/>
                    <a:pt x="742" y="192"/>
                  </a:cubicBezTo>
                  <a:cubicBezTo>
                    <a:pt x="741" y="189"/>
                    <a:pt x="737" y="185"/>
                    <a:pt x="733" y="185"/>
                  </a:cubicBezTo>
                  <a:close/>
                  <a:moveTo>
                    <a:pt x="939" y="306"/>
                  </a:moveTo>
                  <a:cubicBezTo>
                    <a:pt x="943" y="308"/>
                    <a:pt x="945" y="305"/>
                    <a:pt x="944" y="300"/>
                  </a:cubicBezTo>
                  <a:cubicBezTo>
                    <a:pt x="944" y="300"/>
                    <a:pt x="944" y="300"/>
                    <a:pt x="944" y="300"/>
                  </a:cubicBezTo>
                  <a:cubicBezTo>
                    <a:pt x="943" y="296"/>
                    <a:pt x="939" y="291"/>
                    <a:pt x="935" y="291"/>
                  </a:cubicBezTo>
                  <a:cubicBezTo>
                    <a:pt x="931" y="293"/>
                    <a:pt x="934" y="302"/>
                    <a:pt x="939" y="306"/>
                  </a:cubicBezTo>
                  <a:close/>
                  <a:moveTo>
                    <a:pt x="698" y="185"/>
                  </a:moveTo>
                  <a:cubicBezTo>
                    <a:pt x="692" y="186"/>
                    <a:pt x="692" y="193"/>
                    <a:pt x="697" y="196"/>
                  </a:cubicBezTo>
                  <a:cubicBezTo>
                    <a:pt x="702" y="200"/>
                    <a:pt x="707" y="197"/>
                    <a:pt x="706" y="192"/>
                  </a:cubicBezTo>
                  <a:cubicBezTo>
                    <a:pt x="706" y="189"/>
                    <a:pt x="702" y="185"/>
                    <a:pt x="698" y="185"/>
                  </a:cubicBezTo>
                  <a:close/>
                  <a:moveTo>
                    <a:pt x="676" y="169"/>
                  </a:moveTo>
                  <a:cubicBezTo>
                    <a:pt x="670" y="170"/>
                    <a:pt x="670" y="177"/>
                    <a:pt x="675" y="180"/>
                  </a:cubicBezTo>
                  <a:cubicBezTo>
                    <a:pt x="680" y="183"/>
                    <a:pt x="685" y="181"/>
                    <a:pt x="684" y="176"/>
                  </a:cubicBezTo>
                  <a:cubicBezTo>
                    <a:pt x="684" y="173"/>
                    <a:pt x="680" y="169"/>
                    <a:pt x="676" y="169"/>
                  </a:cubicBezTo>
                  <a:close/>
                  <a:moveTo>
                    <a:pt x="664" y="201"/>
                  </a:moveTo>
                  <a:cubicBezTo>
                    <a:pt x="658" y="202"/>
                    <a:pt x="658" y="210"/>
                    <a:pt x="663" y="213"/>
                  </a:cubicBezTo>
                  <a:cubicBezTo>
                    <a:pt x="667" y="217"/>
                    <a:pt x="673" y="214"/>
                    <a:pt x="673" y="209"/>
                  </a:cubicBezTo>
                  <a:cubicBezTo>
                    <a:pt x="673" y="205"/>
                    <a:pt x="669" y="201"/>
                    <a:pt x="664" y="201"/>
                  </a:cubicBezTo>
                  <a:close/>
                  <a:moveTo>
                    <a:pt x="693" y="169"/>
                  </a:moveTo>
                  <a:cubicBezTo>
                    <a:pt x="687" y="170"/>
                    <a:pt x="688" y="177"/>
                    <a:pt x="693" y="180"/>
                  </a:cubicBezTo>
                  <a:cubicBezTo>
                    <a:pt x="698" y="183"/>
                    <a:pt x="703" y="181"/>
                    <a:pt x="702" y="176"/>
                  </a:cubicBezTo>
                  <a:cubicBezTo>
                    <a:pt x="701" y="173"/>
                    <a:pt x="698" y="169"/>
                    <a:pt x="693" y="169"/>
                  </a:cubicBezTo>
                  <a:close/>
                  <a:moveTo>
                    <a:pt x="652" y="254"/>
                  </a:moveTo>
                  <a:cubicBezTo>
                    <a:pt x="645" y="255"/>
                    <a:pt x="644" y="263"/>
                    <a:pt x="649" y="267"/>
                  </a:cubicBezTo>
                  <a:cubicBezTo>
                    <a:pt x="654" y="271"/>
                    <a:pt x="661" y="268"/>
                    <a:pt x="661" y="262"/>
                  </a:cubicBezTo>
                  <a:cubicBezTo>
                    <a:pt x="661" y="258"/>
                    <a:pt x="658" y="254"/>
                    <a:pt x="652" y="254"/>
                  </a:cubicBezTo>
                  <a:close/>
                  <a:moveTo>
                    <a:pt x="682" y="213"/>
                  </a:moveTo>
                  <a:cubicBezTo>
                    <a:pt x="687" y="217"/>
                    <a:pt x="693" y="214"/>
                    <a:pt x="692" y="209"/>
                  </a:cubicBezTo>
                  <a:cubicBezTo>
                    <a:pt x="692" y="205"/>
                    <a:pt x="688" y="201"/>
                    <a:pt x="683" y="201"/>
                  </a:cubicBezTo>
                  <a:cubicBezTo>
                    <a:pt x="677" y="202"/>
                    <a:pt x="677" y="210"/>
                    <a:pt x="682" y="213"/>
                  </a:cubicBezTo>
                  <a:close/>
                  <a:moveTo>
                    <a:pt x="679" y="185"/>
                  </a:moveTo>
                  <a:cubicBezTo>
                    <a:pt x="674" y="186"/>
                    <a:pt x="674" y="193"/>
                    <a:pt x="679" y="196"/>
                  </a:cubicBezTo>
                  <a:cubicBezTo>
                    <a:pt x="683" y="200"/>
                    <a:pt x="689" y="197"/>
                    <a:pt x="688" y="192"/>
                  </a:cubicBezTo>
                  <a:cubicBezTo>
                    <a:pt x="688" y="189"/>
                    <a:pt x="684" y="185"/>
                    <a:pt x="679" y="185"/>
                  </a:cubicBezTo>
                  <a:close/>
                  <a:moveTo>
                    <a:pt x="832" y="135"/>
                  </a:moveTo>
                  <a:cubicBezTo>
                    <a:pt x="835" y="136"/>
                    <a:pt x="837" y="136"/>
                    <a:pt x="837" y="133"/>
                  </a:cubicBezTo>
                  <a:cubicBezTo>
                    <a:pt x="836" y="133"/>
                    <a:pt x="836" y="132"/>
                    <a:pt x="835" y="130"/>
                  </a:cubicBezTo>
                  <a:cubicBezTo>
                    <a:pt x="833" y="128"/>
                    <a:pt x="829" y="124"/>
                    <a:pt x="826" y="124"/>
                  </a:cubicBezTo>
                  <a:cubicBezTo>
                    <a:pt x="822" y="125"/>
                    <a:pt x="827" y="132"/>
                    <a:pt x="832" y="135"/>
                  </a:cubicBezTo>
                  <a:close/>
                  <a:moveTo>
                    <a:pt x="823" y="180"/>
                  </a:moveTo>
                  <a:cubicBezTo>
                    <a:pt x="827" y="183"/>
                    <a:pt x="830" y="182"/>
                    <a:pt x="829" y="178"/>
                  </a:cubicBezTo>
                  <a:cubicBezTo>
                    <a:pt x="829" y="177"/>
                    <a:pt x="829" y="176"/>
                    <a:pt x="828" y="176"/>
                  </a:cubicBezTo>
                  <a:cubicBezTo>
                    <a:pt x="827" y="173"/>
                    <a:pt x="823" y="169"/>
                    <a:pt x="819" y="169"/>
                  </a:cubicBezTo>
                  <a:cubicBezTo>
                    <a:pt x="815" y="170"/>
                    <a:pt x="818" y="177"/>
                    <a:pt x="823" y="180"/>
                  </a:cubicBezTo>
                  <a:close/>
                  <a:moveTo>
                    <a:pt x="800" y="196"/>
                  </a:moveTo>
                  <a:cubicBezTo>
                    <a:pt x="805" y="199"/>
                    <a:pt x="809" y="198"/>
                    <a:pt x="808" y="193"/>
                  </a:cubicBezTo>
                  <a:cubicBezTo>
                    <a:pt x="808" y="193"/>
                    <a:pt x="807" y="192"/>
                    <a:pt x="807" y="192"/>
                  </a:cubicBezTo>
                  <a:cubicBezTo>
                    <a:pt x="806" y="189"/>
                    <a:pt x="802" y="185"/>
                    <a:pt x="798" y="185"/>
                  </a:cubicBezTo>
                  <a:cubicBezTo>
                    <a:pt x="793" y="186"/>
                    <a:pt x="795" y="193"/>
                    <a:pt x="800" y="196"/>
                  </a:cubicBezTo>
                  <a:close/>
                  <a:moveTo>
                    <a:pt x="808" y="180"/>
                  </a:moveTo>
                  <a:cubicBezTo>
                    <a:pt x="812" y="183"/>
                    <a:pt x="815" y="181"/>
                    <a:pt x="815" y="178"/>
                  </a:cubicBezTo>
                  <a:cubicBezTo>
                    <a:pt x="815" y="177"/>
                    <a:pt x="814" y="176"/>
                    <a:pt x="814" y="176"/>
                  </a:cubicBezTo>
                  <a:cubicBezTo>
                    <a:pt x="813" y="173"/>
                    <a:pt x="809" y="169"/>
                    <a:pt x="805" y="169"/>
                  </a:cubicBezTo>
                  <a:cubicBezTo>
                    <a:pt x="800" y="170"/>
                    <a:pt x="803" y="177"/>
                    <a:pt x="808" y="180"/>
                  </a:cubicBezTo>
                  <a:close/>
                  <a:moveTo>
                    <a:pt x="819" y="160"/>
                  </a:moveTo>
                  <a:cubicBezTo>
                    <a:pt x="818" y="157"/>
                    <a:pt x="813" y="153"/>
                    <a:pt x="810" y="153"/>
                  </a:cubicBezTo>
                  <a:cubicBezTo>
                    <a:pt x="806" y="154"/>
                    <a:pt x="809" y="161"/>
                    <a:pt x="814" y="164"/>
                  </a:cubicBezTo>
                  <a:cubicBezTo>
                    <a:pt x="818" y="167"/>
                    <a:pt x="821" y="166"/>
                    <a:pt x="820" y="162"/>
                  </a:cubicBezTo>
                  <a:cubicBezTo>
                    <a:pt x="820" y="162"/>
                    <a:pt x="820" y="161"/>
                    <a:pt x="819" y="160"/>
                  </a:cubicBezTo>
                  <a:close/>
                  <a:moveTo>
                    <a:pt x="827" y="164"/>
                  </a:moveTo>
                  <a:cubicBezTo>
                    <a:pt x="831" y="167"/>
                    <a:pt x="834" y="166"/>
                    <a:pt x="833" y="162"/>
                  </a:cubicBezTo>
                  <a:cubicBezTo>
                    <a:pt x="833" y="162"/>
                    <a:pt x="833" y="161"/>
                    <a:pt x="832" y="160"/>
                  </a:cubicBezTo>
                  <a:cubicBezTo>
                    <a:pt x="831" y="157"/>
                    <a:pt x="827" y="153"/>
                    <a:pt x="823" y="153"/>
                  </a:cubicBezTo>
                  <a:cubicBezTo>
                    <a:pt x="819" y="154"/>
                    <a:pt x="823" y="161"/>
                    <a:pt x="827" y="164"/>
                  </a:cubicBezTo>
                  <a:close/>
                  <a:moveTo>
                    <a:pt x="830" y="149"/>
                  </a:moveTo>
                  <a:cubicBezTo>
                    <a:pt x="834" y="151"/>
                    <a:pt x="836" y="151"/>
                    <a:pt x="836" y="148"/>
                  </a:cubicBezTo>
                  <a:cubicBezTo>
                    <a:pt x="836" y="147"/>
                    <a:pt x="835" y="146"/>
                    <a:pt x="835" y="145"/>
                  </a:cubicBezTo>
                  <a:cubicBezTo>
                    <a:pt x="833" y="142"/>
                    <a:pt x="828" y="138"/>
                    <a:pt x="825" y="139"/>
                  </a:cubicBezTo>
                  <a:cubicBezTo>
                    <a:pt x="822" y="139"/>
                    <a:pt x="826" y="146"/>
                    <a:pt x="830" y="149"/>
                  </a:cubicBezTo>
                  <a:close/>
                  <a:moveTo>
                    <a:pt x="791" y="160"/>
                  </a:moveTo>
                  <a:cubicBezTo>
                    <a:pt x="790" y="157"/>
                    <a:pt x="786" y="153"/>
                    <a:pt x="782" y="153"/>
                  </a:cubicBezTo>
                  <a:cubicBezTo>
                    <a:pt x="778" y="154"/>
                    <a:pt x="780" y="161"/>
                    <a:pt x="785" y="164"/>
                  </a:cubicBezTo>
                  <a:cubicBezTo>
                    <a:pt x="789" y="167"/>
                    <a:pt x="792" y="166"/>
                    <a:pt x="792" y="162"/>
                  </a:cubicBezTo>
                  <a:cubicBezTo>
                    <a:pt x="792" y="161"/>
                    <a:pt x="791" y="161"/>
                    <a:pt x="791" y="160"/>
                  </a:cubicBezTo>
                  <a:close/>
                  <a:moveTo>
                    <a:pt x="774" y="130"/>
                  </a:moveTo>
                  <a:cubicBezTo>
                    <a:pt x="772" y="128"/>
                    <a:pt x="768" y="124"/>
                    <a:pt x="765" y="124"/>
                  </a:cubicBezTo>
                  <a:cubicBezTo>
                    <a:pt x="761" y="125"/>
                    <a:pt x="764" y="131"/>
                    <a:pt x="768" y="134"/>
                  </a:cubicBezTo>
                  <a:cubicBezTo>
                    <a:pt x="772" y="137"/>
                    <a:pt x="775" y="136"/>
                    <a:pt x="774" y="132"/>
                  </a:cubicBezTo>
                  <a:cubicBezTo>
                    <a:pt x="774" y="132"/>
                    <a:pt x="774" y="131"/>
                    <a:pt x="774" y="130"/>
                  </a:cubicBezTo>
                  <a:close/>
                  <a:moveTo>
                    <a:pt x="762" y="149"/>
                  </a:moveTo>
                  <a:cubicBezTo>
                    <a:pt x="766" y="151"/>
                    <a:pt x="770" y="150"/>
                    <a:pt x="769" y="147"/>
                  </a:cubicBezTo>
                  <a:cubicBezTo>
                    <a:pt x="769" y="146"/>
                    <a:pt x="769" y="146"/>
                    <a:pt x="768" y="145"/>
                  </a:cubicBezTo>
                  <a:cubicBezTo>
                    <a:pt x="767" y="142"/>
                    <a:pt x="763" y="138"/>
                    <a:pt x="759" y="139"/>
                  </a:cubicBezTo>
                  <a:cubicBezTo>
                    <a:pt x="755" y="139"/>
                    <a:pt x="757" y="146"/>
                    <a:pt x="762" y="149"/>
                  </a:cubicBezTo>
                  <a:close/>
                  <a:moveTo>
                    <a:pt x="754" y="164"/>
                  </a:moveTo>
                  <a:cubicBezTo>
                    <a:pt x="759" y="167"/>
                    <a:pt x="762" y="165"/>
                    <a:pt x="762" y="161"/>
                  </a:cubicBezTo>
                  <a:cubicBezTo>
                    <a:pt x="762" y="161"/>
                    <a:pt x="761" y="160"/>
                    <a:pt x="761" y="160"/>
                  </a:cubicBezTo>
                  <a:cubicBezTo>
                    <a:pt x="760" y="157"/>
                    <a:pt x="756" y="153"/>
                    <a:pt x="752" y="153"/>
                  </a:cubicBezTo>
                  <a:cubicBezTo>
                    <a:pt x="747" y="154"/>
                    <a:pt x="749" y="161"/>
                    <a:pt x="754" y="164"/>
                  </a:cubicBezTo>
                  <a:close/>
                  <a:moveTo>
                    <a:pt x="783" y="145"/>
                  </a:moveTo>
                  <a:cubicBezTo>
                    <a:pt x="781" y="142"/>
                    <a:pt x="777" y="138"/>
                    <a:pt x="773" y="139"/>
                  </a:cubicBezTo>
                  <a:cubicBezTo>
                    <a:pt x="769" y="139"/>
                    <a:pt x="772" y="146"/>
                    <a:pt x="777" y="149"/>
                  </a:cubicBezTo>
                  <a:cubicBezTo>
                    <a:pt x="781" y="151"/>
                    <a:pt x="784" y="150"/>
                    <a:pt x="783" y="147"/>
                  </a:cubicBezTo>
                  <a:cubicBezTo>
                    <a:pt x="783" y="146"/>
                    <a:pt x="783" y="146"/>
                    <a:pt x="783" y="145"/>
                  </a:cubicBezTo>
                  <a:close/>
                  <a:moveTo>
                    <a:pt x="799" y="176"/>
                  </a:moveTo>
                  <a:cubicBezTo>
                    <a:pt x="798" y="173"/>
                    <a:pt x="794" y="169"/>
                    <a:pt x="790" y="169"/>
                  </a:cubicBezTo>
                  <a:cubicBezTo>
                    <a:pt x="786" y="170"/>
                    <a:pt x="788" y="177"/>
                    <a:pt x="793" y="180"/>
                  </a:cubicBezTo>
                  <a:cubicBezTo>
                    <a:pt x="797" y="183"/>
                    <a:pt x="800" y="181"/>
                    <a:pt x="800" y="178"/>
                  </a:cubicBezTo>
                  <a:cubicBezTo>
                    <a:pt x="800" y="177"/>
                    <a:pt x="800" y="176"/>
                    <a:pt x="799" y="176"/>
                  </a:cubicBezTo>
                  <a:close/>
                  <a:moveTo>
                    <a:pt x="924" y="268"/>
                  </a:moveTo>
                  <a:cubicBezTo>
                    <a:pt x="927" y="270"/>
                    <a:pt x="930" y="268"/>
                    <a:pt x="929" y="263"/>
                  </a:cubicBezTo>
                  <a:cubicBezTo>
                    <a:pt x="929" y="263"/>
                    <a:pt x="928" y="262"/>
                    <a:pt x="928" y="262"/>
                  </a:cubicBezTo>
                  <a:cubicBezTo>
                    <a:pt x="927" y="258"/>
                    <a:pt x="923" y="254"/>
                    <a:pt x="919" y="254"/>
                  </a:cubicBezTo>
                  <a:cubicBezTo>
                    <a:pt x="915" y="255"/>
                    <a:pt x="919" y="265"/>
                    <a:pt x="924" y="268"/>
                  </a:cubicBezTo>
                  <a:close/>
                  <a:moveTo>
                    <a:pt x="593" y="209"/>
                  </a:moveTo>
                  <a:cubicBezTo>
                    <a:pt x="594" y="206"/>
                    <a:pt x="591" y="201"/>
                    <a:pt x="585" y="201"/>
                  </a:cubicBezTo>
                  <a:cubicBezTo>
                    <a:pt x="579" y="202"/>
                    <a:pt x="577" y="210"/>
                    <a:pt x="582" y="213"/>
                  </a:cubicBezTo>
                  <a:cubicBezTo>
                    <a:pt x="587" y="217"/>
                    <a:pt x="593" y="214"/>
                    <a:pt x="593" y="209"/>
                  </a:cubicBezTo>
                  <a:close/>
                  <a:moveTo>
                    <a:pt x="594" y="226"/>
                  </a:moveTo>
                  <a:cubicBezTo>
                    <a:pt x="595" y="223"/>
                    <a:pt x="592" y="218"/>
                    <a:pt x="586" y="218"/>
                  </a:cubicBezTo>
                  <a:cubicBezTo>
                    <a:pt x="579" y="219"/>
                    <a:pt x="578" y="227"/>
                    <a:pt x="583" y="231"/>
                  </a:cubicBezTo>
                  <a:cubicBezTo>
                    <a:pt x="587" y="234"/>
                    <a:pt x="594" y="231"/>
                    <a:pt x="594" y="226"/>
                  </a:cubicBezTo>
                  <a:close/>
                  <a:moveTo>
                    <a:pt x="932" y="286"/>
                  </a:moveTo>
                  <a:cubicBezTo>
                    <a:pt x="935" y="289"/>
                    <a:pt x="938" y="287"/>
                    <a:pt x="937" y="282"/>
                  </a:cubicBezTo>
                  <a:cubicBezTo>
                    <a:pt x="937" y="282"/>
                    <a:pt x="937" y="281"/>
                    <a:pt x="936" y="281"/>
                  </a:cubicBezTo>
                  <a:cubicBezTo>
                    <a:pt x="935" y="277"/>
                    <a:pt x="931" y="272"/>
                    <a:pt x="928" y="272"/>
                  </a:cubicBezTo>
                  <a:cubicBezTo>
                    <a:pt x="923" y="274"/>
                    <a:pt x="926" y="283"/>
                    <a:pt x="932" y="286"/>
                  </a:cubicBezTo>
                  <a:close/>
                  <a:moveTo>
                    <a:pt x="591" y="160"/>
                  </a:moveTo>
                  <a:cubicBezTo>
                    <a:pt x="591" y="157"/>
                    <a:pt x="588" y="153"/>
                    <a:pt x="583" y="153"/>
                  </a:cubicBezTo>
                  <a:cubicBezTo>
                    <a:pt x="577" y="154"/>
                    <a:pt x="576" y="161"/>
                    <a:pt x="580" y="164"/>
                  </a:cubicBezTo>
                  <a:cubicBezTo>
                    <a:pt x="584" y="167"/>
                    <a:pt x="590" y="165"/>
                    <a:pt x="591" y="160"/>
                  </a:cubicBezTo>
                  <a:close/>
                  <a:moveTo>
                    <a:pt x="589" y="145"/>
                  </a:moveTo>
                  <a:cubicBezTo>
                    <a:pt x="590" y="142"/>
                    <a:pt x="587" y="138"/>
                    <a:pt x="582" y="139"/>
                  </a:cubicBezTo>
                  <a:cubicBezTo>
                    <a:pt x="576" y="139"/>
                    <a:pt x="575" y="146"/>
                    <a:pt x="579" y="149"/>
                  </a:cubicBezTo>
                  <a:cubicBezTo>
                    <a:pt x="584" y="152"/>
                    <a:pt x="589" y="150"/>
                    <a:pt x="589" y="145"/>
                  </a:cubicBezTo>
                  <a:close/>
                  <a:moveTo>
                    <a:pt x="588" y="130"/>
                  </a:moveTo>
                  <a:cubicBezTo>
                    <a:pt x="588" y="128"/>
                    <a:pt x="586" y="124"/>
                    <a:pt x="581" y="124"/>
                  </a:cubicBezTo>
                  <a:cubicBezTo>
                    <a:pt x="576" y="125"/>
                    <a:pt x="575" y="131"/>
                    <a:pt x="579" y="134"/>
                  </a:cubicBezTo>
                  <a:cubicBezTo>
                    <a:pt x="583" y="137"/>
                    <a:pt x="588" y="135"/>
                    <a:pt x="588" y="130"/>
                  </a:cubicBezTo>
                  <a:close/>
                  <a:moveTo>
                    <a:pt x="597" y="281"/>
                  </a:moveTo>
                  <a:cubicBezTo>
                    <a:pt x="597" y="277"/>
                    <a:pt x="594" y="272"/>
                    <a:pt x="588" y="272"/>
                  </a:cubicBezTo>
                  <a:cubicBezTo>
                    <a:pt x="581" y="273"/>
                    <a:pt x="579" y="282"/>
                    <a:pt x="584" y="286"/>
                  </a:cubicBezTo>
                  <a:cubicBezTo>
                    <a:pt x="589" y="289"/>
                    <a:pt x="596" y="286"/>
                    <a:pt x="597" y="281"/>
                  </a:cubicBezTo>
                  <a:close/>
                  <a:moveTo>
                    <a:pt x="596" y="262"/>
                  </a:moveTo>
                  <a:cubicBezTo>
                    <a:pt x="596" y="259"/>
                    <a:pt x="594" y="254"/>
                    <a:pt x="587" y="254"/>
                  </a:cubicBezTo>
                  <a:cubicBezTo>
                    <a:pt x="580" y="255"/>
                    <a:pt x="579" y="263"/>
                    <a:pt x="584" y="267"/>
                  </a:cubicBezTo>
                  <a:cubicBezTo>
                    <a:pt x="589" y="271"/>
                    <a:pt x="596" y="268"/>
                    <a:pt x="596" y="262"/>
                  </a:cubicBezTo>
                  <a:close/>
                  <a:moveTo>
                    <a:pt x="619" y="281"/>
                  </a:moveTo>
                  <a:cubicBezTo>
                    <a:pt x="619" y="277"/>
                    <a:pt x="617" y="272"/>
                    <a:pt x="610" y="272"/>
                  </a:cubicBezTo>
                  <a:cubicBezTo>
                    <a:pt x="603" y="273"/>
                    <a:pt x="602" y="282"/>
                    <a:pt x="607" y="286"/>
                  </a:cubicBezTo>
                  <a:cubicBezTo>
                    <a:pt x="612" y="289"/>
                    <a:pt x="619" y="286"/>
                    <a:pt x="619" y="281"/>
                  </a:cubicBezTo>
                  <a:close/>
                  <a:moveTo>
                    <a:pt x="618" y="262"/>
                  </a:moveTo>
                  <a:cubicBezTo>
                    <a:pt x="618" y="259"/>
                    <a:pt x="615" y="254"/>
                    <a:pt x="609" y="254"/>
                  </a:cubicBezTo>
                  <a:cubicBezTo>
                    <a:pt x="602" y="255"/>
                    <a:pt x="601" y="263"/>
                    <a:pt x="606" y="267"/>
                  </a:cubicBezTo>
                  <a:cubicBezTo>
                    <a:pt x="611" y="271"/>
                    <a:pt x="618" y="268"/>
                    <a:pt x="618" y="262"/>
                  </a:cubicBezTo>
                  <a:close/>
                  <a:moveTo>
                    <a:pt x="617" y="244"/>
                  </a:moveTo>
                  <a:cubicBezTo>
                    <a:pt x="617" y="240"/>
                    <a:pt x="614" y="236"/>
                    <a:pt x="608" y="236"/>
                  </a:cubicBezTo>
                  <a:cubicBezTo>
                    <a:pt x="601" y="237"/>
                    <a:pt x="600" y="245"/>
                    <a:pt x="605" y="248"/>
                  </a:cubicBezTo>
                  <a:cubicBezTo>
                    <a:pt x="610" y="252"/>
                    <a:pt x="616" y="249"/>
                    <a:pt x="617" y="244"/>
                  </a:cubicBezTo>
                  <a:close/>
                  <a:moveTo>
                    <a:pt x="544" y="218"/>
                  </a:moveTo>
                  <a:cubicBezTo>
                    <a:pt x="537" y="219"/>
                    <a:pt x="535" y="227"/>
                    <a:pt x="540" y="231"/>
                  </a:cubicBezTo>
                  <a:cubicBezTo>
                    <a:pt x="544" y="234"/>
                    <a:pt x="551" y="231"/>
                    <a:pt x="552" y="226"/>
                  </a:cubicBezTo>
                  <a:cubicBezTo>
                    <a:pt x="552" y="223"/>
                    <a:pt x="550" y="218"/>
                    <a:pt x="544" y="218"/>
                  </a:cubicBezTo>
                  <a:close/>
                  <a:moveTo>
                    <a:pt x="595" y="244"/>
                  </a:moveTo>
                  <a:cubicBezTo>
                    <a:pt x="595" y="240"/>
                    <a:pt x="593" y="236"/>
                    <a:pt x="587" y="236"/>
                  </a:cubicBezTo>
                  <a:cubicBezTo>
                    <a:pt x="580" y="237"/>
                    <a:pt x="578" y="245"/>
                    <a:pt x="583" y="248"/>
                  </a:cubicBezTo>
                  <a:cubicBezTo>
                    <a:pt x="588" y="252"/>
                    <a:pt x="595" y="249"/>
                    <a:pt x="595" y="244"/>
                  </a:cubicBezTo>
                  <a:close/>
                  <a:moveTo>
                    <a:pt x="522" y="236"/>
                  </a:moveTo>
                  <a:cubicBezTo>
                    <a:pt x="515" y="237"/>
                    <a:pt x="513" y="245"/>
                    <a:pt x="517" y="248"/>
                  </a:cubicBezTo>
                  <a:cubicBezTo>
                    <a:pt x="522" y="252"/>
                    <a:pt x="529" y="249"/>
                    <a:pt x="530" y="244"/>
                  </a:cubicBezTo>
                  <a:cubicBezTo>
                    <a:pt x="530" y="240"/>
                    <a:pt x="528" y="236"/>
                    <a:pt x="522" y="236"/>
                  </a:cubicBezTo>
                  <a:close/>
                  <a:moveTo>
                    <a:pt x="521" y="254"/>
                  </a:moveTo>
                  <a:cubicBezTo>
                    <a:pt x="514" y="255"/>
                    <a:pt x="512" y="263"/>
                    <a:pt x="516" y="267"/>
                  </a:cubicBezTo>
                  <a:cubicBezTo>
                    <a:pt x="521" y="271"/>
                    <a:pt x="528" y="268"/>
                    <a:pt x="529" y="262"/>
                  </a:cubicBezTo>
                  <a:cubicBezTo>
                    <a:pt x="529" y="259"/>
                    <a:pt x="527" y="254"/>
                    <a:pt x="521" y="254"/>
                  </a:cubicBezTo>
                  <a:close/>
                  <a:moveTo>
                    <a:pt x="907" y="245"/>
                  </a:moveTo>
                  <a:cubicBezTo>
                    <a:pt x="906" y="245"/>
                    <a:pt x="906" y="244"/>
                    <a:pt x="906" y="244"/>
                  </a:cubicBezTo>
                  <a:cubicBezTo>
                    <a:pt x="905" y="240"/>
                    <a:pt x="901" y="236"/>
                    <a:pt x="897" y="236"/>
                  </a:cubicBezTo>
                  <a:cubicBezTo>
                    <a:pt x="892" y="237"/>
                    <a:pt x="896" y="246"/>
                    <a:pt x="901" y="249"/>
                  </a:cubicBezTo>
                  <a:cubicBezTo>
                    <a:pt x="905" y="251"/>
                    <a:pt x="908" y="249"/>
                    <a:pt x="907" y="245"/>
                  </a:cubicBezTo>
                  <a:close/>
                  <a:moveTo>
                    <a:pt x="489" y="8"/>
                  </a:moveTo>
                  <a:cubicBezTo>
                    <a:pt x="490" y="7"/>
                    <a:pt x="492" y="6"/>
                    <a:pt x="492" y="5"/>
                  </a:cubicBezTo>
                  <a:cubicBezTo>
                    <a:pt x="491" y="5"/>
                    <a:pt x="491" y="5"/>
                    <a:pt x="491" y="5"/>
                  </a:cubicBezTo>
                  <a:cubicBezTo>
                    <a:pt x="488" y="6"/>
                    <a:pt x="482" y="9"/>
                    <a:pt x="482" y="10"/>
                  </a:cubicBezTo>
                  <a:cubicBezTo>
                    <a:pt x="483" y="10"/>
                    <a:pt x="486" y="9"/>
                    <a:pt x="489" y="8"/>
                  </a:cubicBezTo>
                  <a:close/>
                  <a:moveTo>
                    <a:pt x="628" y="267"/>
                  </a:moveTo>
                  <a:cubicBezTo>
                    <a:pt x="633" y="271"/>
                    <a:pt x="640" y="268"/>
                    <a:pt x="640" y="262"/>
                  </a:cubicBezTo>
                  <a:cubicBezTo>
                    <a:pt x="640" y="258"/>
                    <a:pt x="637" y="254"/>
                    <a:pt x="631" y="254"/>
                  </a:cubicBezTo>
                  <a:cubicBezTo>
                    <a:pt x="624" y="255"/>
                    <a:pt x="623" y="263"/>
                    <a:pt x="628" y="267"/>
                  </a:cubicBezTo>
                  <a:close/>
                  <a:moveTo>
                    <a:pt x="920" y="245"/>
                  </a:moveTo>
                  <a:cubicBezTo>
                    <a:pt x="920" y="245"/>
                    <a:pt x="920" y="244"/>
                    <a:pt x="920" y="244"/>
                  </a:cubicBezTo>
                  <a:cubicBezTo>
                    <a:pt x="918" y="240"/>
                    <a:pt x="914" y="236"/>
                    <a:pt x="911" y="236"/>
                  </a:cubicBezTo>
                  <a:cubicBezTo>
                    <a:pt x="906" y="237"/>
                    <a:pt x="910" y="246"/>
                    <a:pt x="915" y="249"/>
                  </a:cubicBezTo>
                  <a:cubicBezTo>
                    <a:pt x="919" y="251"/>
                    <a:pt x="921" y="249"/>
                    <a:pt x="920" y="245"/>
                  </a:cubicBezTo>
                  <a:close/>
                  <a:moveTo>
                    <a:pt x="491" y="209"/>
                  </a:moveTo>
                  <a:cubicBezTo>
                    <a:pt x="491" y="206"/>
                    <a:pt x="490" y="201"/>
                    <a:pt x="484" y="201"/>
                  </a:cubicBezTo>
                  <a:cubicBezTo>
                    <a:pt x="477" y="202"/>
                    <a:pt x="475" y="210"/>
                    <a:pt x="479" y="214"/>
                  </a:cubicBezTo>
                  <a:cubicBezTo>
                    <a:pt x="483" y="216"/>
                    <a:pt x="490" y="214"/>
                    <a:pt x="491" y="209"/>
                  </a:cubicBezTo>
                  <a:close/>
                  <a:moveTo>
                    <a:pt x="543" y="236"/>
                  </a:moveTo>
                  <a:cubicBezTo>
                    <a:pt x="536" y="237"/>
                    <a:pt x="534" y="245"/>
                    <a:pt x="539" y="248"/>
                  </a:cubicBezTo>
                  <a:cubicBezTo>
                    <a:pt x="544" y="252"/>
                    <a:pt x="551" y="249"/>
                    <a:pt x="552" y="244"/>
                  </a:cubicBezTo>
                  <a:cubicBezTo>
                    <a:pt x="552" y="240"/>
                    <a:pt x="550" y="236"/>
                    <a:pt x="543" y="236"/>
                  </a:cubicBezTo>
                  <a:close/>
                  <a:moveTo>
                    <a:pt x="543" y="272"/>
                  </a:moveTo>
                  <a:cubicBezTo>
                    <a:pt x="535" y="274"/>
                    <a:pt x="533" y="282"/>
                    <a:pt x="538" y="286"/>
                  </a:cubicBezTo>
                  <a:cubicBezTo>
                    <a:pt x="543" y="289"/>
                    <a:pt x="551" y="286"/>
                    <a:pt x="551" y="281"/>
                  </a:cubicBezTo>
                  <a:cubicBezTo>
                    <a:pt x="552" y="277"/>
                    <a:pt x="549" y="272"/>
                    <a:pt x="543" y="272"/>
                  </a:cubicBezTo>
                  <a:close/>
                  <a:moveTo>
                    <a:pt x="543" y="254"/>
                  </a:moveTo>
                  <a:cubicBezTo>
                    <a:pt x="535" y="255"/>
                    <a:pt x="534" y="263"/>
                    <a:pt x="539" y="267"/>
                  </a:cubicBezTo>
                  <a:cubicBezTo>
                    <a:pt x="543" y="271"/>
                    <a:pt x="551" y="268"/>
                    <a:pt x="551" y="262"/>
                  </a:cubicBezTo>
                  <a:cubicBezTo>
                    <a:pt x="552" y="258"/>
                    <a:pt x="549" y="254"/>
                    <a:pt x="543" y="254"/>
                  </a:cubicBezTo>
                  <a:close/>
                  <a:moveTo>
                    <a:pt x="474" y="291"/>
                  </a:moveTo>
                  <a:cubicBezTo>
                    <a:pt x="466" y="293"/>
                    <a:pt x="464" y="302"/>
                    <a:pt x="469" y="305"/>
                  </a:cubicBezTo>
                  <a:cubicBezTo>
                    <a:pt x="474" y="309"/>
                    <a:pt x="481" y="305"/>
                    <a:pt x="482" y="300"/>
                  </a:cubicBezTo>
                  <a:cubicBezTo>
                    <a:pt x="482" y="296"/>
                    <a:pt x="480" y="291"/>
                    <a:pt x="474" y="291"/>
                  </a:cubicBezTo>
                  <a:close/>
                  <a:moveTo>
                    <a:pt x="524" y="201"/>
                  </a:moveTo>
                  <a:cubicBezTo>
                    <a:pt x="517" y="202"/>
                    <a:pt x="515" y="210"/>
                    <a:pt x="519" y="213"/>
                  </a:cubicBezTo>
                  <a:cubicBezTo>
                    <a:pt x="524" y="217"/>
                    <a:pt x="531" y="214"/>
                    <a:pt x="531" y="209"/>
                  </a:cubicBezTo>
                  <a:cubicBezTo>
                    <a:pt x="532" y="206"/>
                    <a:pt x="530" y="201"/>
                    <a:pt x="524" y="201"/>
                  </a:cubicBezTo>
                  <a:close/>
                  <a:moveTo>
                    <a:pt x="445" y="1098"/>
                  </a:moveTo>
                  <a:cubicBezTo>
                    <a:pt x="447" y="1099"/>
                    <a:pt x="460" y="1102"/>
                    <a:pt x="461" y="1102"/>
                  </a:cubicBezTo>
                  <a:cubicBezTo>
                    <a:pt x="461" y="1102"/>
                    <a:pt x="461" y="1102"/>
                    <a:pt x="455" y="1100"/>
                  </a:cubicBezTo>
                  <a:cubicBezTo>
                    <a:pt x="448" y="1099"/>
                    <a:pt x="445" y="1098"/>
                    <a:pt x="445" y="1098"/>
                  </a:cubicBezTo>
                  <a:close/>
                  <a:moveTo>
                    <a:pt x="840" y="214"/>
                  </a:moveTo>
                  <a:cubicBezTo>
                    <a:pt x="844" y="216"/>
                    <a:pt x="847" y="214"/>
                    <a:pt x="846" y="210"/>
                  </a:cubicBezTo>
                  <a:cubicBezTo>
                    <a:pt x="846" y="210"/>
                    <a:pt x="846" y="209"/>
                    <a:pt x="846" y="209"/>
                  </a:cubicBezTo>
                  <a:cubicBezTo>
                    <a:pt x="844" y="205"/>
                    <a:pt x="840" y="201"/>
                    <a:pt x="836" y="201"/>
                  </a:cubicBezTo>
                  <a:cubicBezTo>
                    <a:pt x="832" y="202"/>
                    <a:pt x="835" y="210"/>
                    <a:pt x="840" y="214"/>
                  </a:cubicBezTo>
                  <a:close/>
                  <a:moveTo>
                    <a:pt x="806" y="94"/>
                  </a:moveTo>
                  <a:cubicBezTo>
                    <a:pt x="809" y="95"/>
                    <a:pt x="810" y="95"/>
                    <a:pt x="810" y="94"/>
                  </a:cubicBezTo>
                  <a:cubicBezTo>
                    <a:pt x="810" y="93"/>
                    <a:pt x="809" y="92"/>
                    <a:pt x="808" y="91"/>
                  </a:cubicBezTo>
                  <a:cubicBezTo>
                    <a:pt x="805" y="88"/>
                    <a:pt x="801" y="85"/>
                    <a:pt x="798" y="85"/>
                  </a:cubicBezTo>
                  <a:cubicBezTo>
                    <a:pt x="796" y="86"/>
                    <a:pt x="801" y="91"/>
                    <a:pt x="806" y="94"/>
                  </a:cubicBezTo>
                  <a:close/>
                  <a:moveTo>
                    <a:pt x="841" y="281"/>
                  </a:moveTo>
                  <a:cubicBezTo>
                    <a:pt x="840" y="277"/>
                    <a:pt x="837" y="272"/>
                    <a:pt x="832" y="272"/>
                  </a:cubicBezTo>
                  <a:cubicBezTo>
                    <a:pt x="826" y="274"/>
                    <a:pt x="828" y="282"/>
                    <a:pt x="833" y="286"/>
                  </a:cubicBezTo>
                  <a:cubicBezTo>
                    <a:pt x="838" y="289"/>
                    <a:pt x="843" y="286"/>
                    <a:pt x="841" y="281"/>
                  </a:cubicBezTo>
                  <a:close/>
                  <a:moveTo>
                    <a:pt x="832" y="231"/>
                  </a:moveTo>
                  <a:cubicBezTo>
                    <a:pt x="836" y="234"/>
                    <a:pt x="840" y="232"/>
                    <a:pt x="838" y="227"/>
                  </a:cubicBezTo>
                  <a:cubicBezTo>
                    <a:pt x="838" y="226"/>
                    <a:pt x="838" y="226"/>
                    <a:pt x="838" y="226"/>
                  </a:cubicBezTo>
                  <a:cubicBezTo>
                    <a:pt x="837" y="223"/>
                    <a:pt x="833" y="218"/>
                    <a:pt x="829" y="218"/>
                  </a:cubicBezTo>
                  <a:cubicBezTo>
                    <a:pt x="824" y="219"/>
                    <a:pt x="826" y="228"/>
                    <a:pt x="832" y="231"/>
                  </a:cubicBezTo>
                  <a:close/>
                  <a:moveTo>
                    <a:pt x="798" y="107"/>
                  </a:moveTo>
                  <a:cubicBezTo>
                    <a:pt x="801" y="109"/>
                    <a:pt x="803" y="108"/>
                    <a:pt x="802" y="106"/>
                  </a:cubicBezTo>
                  <a:cubicBezTo>
                    <a:pt x="802" y="105"/>
                    <a:pt x="802" y="104"/>
                    <a:pt x="800" y="103"/>
                  </a:cubicBezTo>
                  <a:cubicBezTo>
                    <a:pt x="798" y="101"/>
                    <a:pt x="794" y="97"/>
                    <a:pt x="791" y="98"/>
                  </a:cubicBezTo>
                  <a:cubicBezTo>
                    <a:pt x="789" y="98"/>
                    <a:pt x="793" y="104"/>
                    <a:pt x="798" y="107"/>
                  </a:cubicBezTo>
                  <a:close/>
                  <a:moveTo>
                    <a:pt x="783" y="82"/>
                  </a:moveTo>
                  <a:cubicBezTo>
                    <a:pt x="786" y="83"/>
                    <a:pt x="788" y="83"/>
                    <a:pt x="788" y="82"/>
                  </a:cubicBezTo>
                  <a:cubicBezTo>
                    <a:pt x="787" y="81"/>
                    <a:pt x="787" y="80"/>
                    <a:pt x="785" y="79"/>
                  </a:cubicBezTo>
                  <a:cubicBezTo>
                    <a:pt x="783" y="76"/>
                    <a:pt x="778" y="73"/>
                    <a:pt x="776" y="73"/>
                  </a:cubicBezTo>
                  <a:cubicBezTo>
                    <a:pt x="774" y="74"/>
                    <a:pt x="779" y="79"/>
                    <a:pt x="783" y="82"/>
                  </a:cubicBezTo>
                  <a:close/>
                  <a:moveTo>
                    <a:pt x="786" y="106"/>
                  </a:moveTo>
                  <a:cubicBezTo>
                    <a:pt x="789" y="109"/>
                    <a:pt x="792" y="108"/>
                    <a:pt x="791" y="106"/>
                  </a:cubicBezTo>
                  <a:cubicBezTo>
                    <a:pt x="791" y="105"/>
                    <a:pt x="791" y="104"/>
                    <a:pt x="790" y="103"/>
                  </a:cubicBezTo>
                  <a:cubicBezTo>
                    <a:pt x="788" y="101"/>
                    <a:pt x="783" y="97"/>
                    <a:pt x="781" y="98"/>
                  </a:cubicBezTo>
                  <a:cubicBezTo>
                    <a:pt x="778" y="98"/>
                    <a:pt x="781" y="104"/>
                    <a:pt x="786" y="106"/>
                  </a:cubicBezTo>
                  <a:close/>
                  <a:moveTo>
                    <a:pt x="879" y="194"/>
                  </a:moveTo>
                  <a:cubicBezTo>
                    <a:pt x="879" y="194"/>
                    <a:pt x="879" y="193"/>
                    <a:pt x="878" y="192"/>
                  </a:cubicBezTo>
                  <a:cubicBezTo>
                    <a:pt x="877" y="189"/>
                    <a:pt x="872" y="185"/>
                    <a:pt x="869" y="185"/>
                  </a:cubicBezTo>
                  <a:cubicBezTo>
                    <a:pt x="865" y="186"/>
                    <a:pt x="869" y="194"/>
                    <a:pt x="874" y="197"/>
                  </a:cubicBezTo>
                  <a:cubicBezTo>
                    <a:pt x="878" y="199"/>
                    <a:pt x="880" y="198"/>
                    <a:pt x="879" y="194"/>
                  </a:cubicBezTo>
                  <a:close/>
                  <a:moveTo>
                    <a:pt x="845" y="267"/>
                  </a:moveTo>
                  <a:cubicBezTo>
                    <a:pt x="850" y="270"/>
                    <a:pt x="853" y="268"/>
                    <a:pt x="852" y="263"/>
                  </a:cubicBezTo>
                  <a:cubicBezTo>
                    <a:pt x="852" y="262"/>
                    <a:pt x="852" y="262"/>
                    <a:pt x="852" y="262"/>
                  </a:cubicBezTo>
                  <a:cubicBezTo>
                    <a:pt x="851" y="258"/>
                    <a:pt x="847" y="254"/>
                    <a:pt x="843" y="254"/>
                  </a:cubicBezTo>
                  <a:cubicBezTo>
                    <a:pt x="837" y="255"/>
                    <a:pt x="840" y="264"/>
                    <a:pt x="845" y="267"/>
                  </a:cubicBezTo>
                  <a:close/>
                  <a:moveTo>
                    <a:pt x="869" y="227"/>
                  </a:moveTo>
                  <a:cubicBezTo>
                    <a:pt x="869" y="227"/>
                    <a:pt x="869" y="226"/>
                    <a:pt x="869" y="226"/>
                  </a:cubicBezTo>
                  <a:cubicBezTo>
                    <a:pt x="868" y="223"/>
                    <a:pt x="864" y="218"/>
                    <a:pt x="860" y="218"/>
                  </a:cubicBezTo>
                  <a:cubicBezTo>
                    <a:pt x="855" y="219"/>
                    <a:pt x="858" y="228"/>
                    <a:pt x="863" y="231"/>
                  </a:cubicBezTo>
                  <a:cubicBezTo>
                    <a:pt x="867" y="234"/>
                    <a:pt x="870" y="232"/>
                    <a:pt x="869" y="227"/>
                  </a:cubicBezTo>
                  <a:close/>
                  <a:moveTo>
                    <a:pt x="846" y="197"/>
                  </a:moveTo>
                  <a:cubicBezTo>
                    <a:pt x="850" y="199"/>
                    <a:pt x="853" y="198"/>
                    <a:pt x="852" y="194"/>
                  </a:cubicBezTo>
                  <a:cubicBezTo>
                    <a:pt x="852" y="193"/>
                    <a:pt x="852" y="193"/>
                    <a:pt x="851" y="192"/>
                  </a:cubicBezTo>
                  <a:cubicBezTo>
                    <a:pt x="850" y="189"/>
                    <a:pt x="846" y="185"/>
                    <a:pt x="842" y="185"/>
                  </a:cubicBezTo>
                  <a:cubicBezTo>
                    <a:pt x="838" y="186"/>
                    <a:pt x="841" y="194"/>
                    <a:pt x="846" y="197"/>
                  </a:cubicBezTo>
                  <a:close/>
                  <a:moveTo>
                    <a:pt x="875" y="211"/>
                  </a:moveTo>
                  <a:cubicBezTo>
                    <a:pt x="875" y="210"/>
                    <a:pt x="875" y="209"/>
                    <a:pt x="874" y="209"/>
                  </a:cubicBezTo>
                  <a:cubicBezTo>
                    <a:pt x="873" y="205"/>
                    <a:pt x="869" y="201"/>
                    <a:pt x="865" y="201"/>
                  </a:cubicBezTo>
                  <a:cubicBezTo>
                    <a:pt x="861" y="202"/>
                    <a:pt x="864" y="210"/>
                    <a:pt x="869" y="214"/>
                  </a:cubicBezTo>
                  <a:cubicBezTo>
                    <a:pt x="873" y="216"/>
                    <a:pt x="876" y="215"/>
                    <a:pt x="875" y="211"/>
                  </a:cubicBezTo>
                  <a:close/>
                  <a:moveTo>
                    <a:pt x="851" y="286"/>
                  </a:moveTo>
                  <a:cubicBezTo>
                    <a:pt x="856" y="289"/>
                    <a:pt x="860" y="287"/>
                    <a:pt x="859" y="281"/>
                  </a:cubicBezTo>
                  <a:cubicBezTo>
                    <a:pt x="859" y="281"/>
                    <a:pt x="859" y="281"/>
                    <a:pt x="859" y="281"/>
                  </a:cubicBezTo>
                  <a:cubicBezTo>
                    <a:pt x="858" y="277"/>
                    <a:pt x="854" y="272"/>
                    <a:pt x="849" y="272"/>
                  </a:cubicBezTo>
                  <a:cubicBezTo>
                    <a:pt x="844" y="274"/>
                    <a:pt x="846" y="282"/>
                    <a:pt x="851" y="286"/>
                  </a:cubicBezTo>
                  <a:close/>
                  <a:moveTo>
                    <a:pt x="881" y="178"/>
                  </a:moveTo>
                  <a:cubicBezTo>
                    <a:pt x="881" y="177"/>
                    <a:pt x="881" y="177"/>
                    <a:pt x="880" y="176"/>
                  </a:cubicBezTo>
                  <a:cubicBezTo>
                    <a:pt x="878" y="173"/>
                    <a:pt x="874" y="169"/>
                    <a:pt x="871" y="169"/>
                  </a:cubicBezTo>
                  <a:cubicBezTo>
                    <a:pt x="867" y="170"/>
                    <a:pt x="872" y="178"/>
                    <a:pt x="877" y="181"/>
                  </a:cubicBezTo>
                  <a:cubicBezTo>
                    <a:pt x="880" y="182"/>
                    <a:pt x="882" y="181"/>
                    <a:pt x="881" y="178"/>
                  </a:cubicBezTo>
                  <a:close/>
                  <a:moveTo>
                    <a:pt x="862" y="244"/>
                  </a:moveTo>
                  <a:cubicBezTo>
                    <a:pt x="862" y="244"/>
                    <a:pt x="861" y="244"/>
                    <a:pt x="861" y="244"/>
                  </a:cubicBezTo>
                  <a:cubicBezTo>
                    <a:pt x="860" y="240"/>
                    <a:pt x="856" y="236"/>
                    <a:pt x="852" y="236"/>
                  </a:cubicBezTo>
                  <a:cubicBezTo>
                    <a:pt x="847" y="237"/>
                    <a:pt x="850" y="245"/>
                    <a:pt x="855" y="249"/>
                  </a:cubicBezTo>
                  <a:cubicBezTo>
                    <a:pt x="859" y="252"/>
                    <a:pt x="863" y="249"/>
                    <a:pt x="862" y="244"/>
                  </a:cubicBezTo>
                  <a:close/>
                  <a:moveTo>
                    <a:pt x="690" y="94"/>
                  </a:moveTo>
                  <a:cubicBezTo>
                    <a:pt x="694" y="96"/>
                    <a:pt x="697" y="95"/>
                    <a:pt x="697" y="92"/>
                  </a:cubicBezTo>
                  <a:cubicBezTo>
                    <a:pt x="697" y="92"/>
                    <a:pt x="696" y="91"/>
                    <a:pt x="696" y="91"/>
                  </a:cubicBezTo>
                  <a:cubicBezTo>
                    <a:pt x="695" y="88"/>
                    <a:pt x="692" y="85"/>
                    <a:pt x="688" y="85"/>
                  </a:cubicBezTo>
                  <a:cubicBezTo>
                    <a:pt x="684" y="86"/>
                    <a:pt x="686" y="91"/>
                    <a:pt x="690" y="94"/>
                  </a:cubicBezTo>
                  <a:close/>
                  <a:moveTo>
                    <a:pt x="683" y="81"/>
                  </a:moveTo>
                  <a:cubicBezTo>
                    <a:pt x="687" y="84"/>
                    <a:pt x="690" y="83"/>
                    <a:pt x="689" y="80"/>
                  </a:cubicBezTo>
                  <a:cubicBezTo>
                    <a:pt x="689" y="80"/>
                    <a:pt x="689" y="79"/>
                    <a:pt x="689" y="79"/>
                  </a:cubicBezTo>
                  <a:cubicBezTo>
                    <a:pt x="688" y="76"/>
                    <a:pt x="684" y="73"/>
                    <a:pt x="681" y="73"/>
                  </a:cubicBezTo>
                  <a:cubicBezTo>
                    <a:pt x="677" y="74"/>
                    <a:pt x="679" y="79"/>
                    <a:pt x="683" y="81"/>
                  </a:cubicBezTo>
                  <a:close/>
                  <a:moveTo>
                    <a:pt x="703" y="94"/>
                  </a:moveTo>
                  <a:cubicBezTo>
                    <a:pt x="707" y="96"/>
                    <a:pt x="710" y="95"/>
                    <a:pt x="710" y="92"/>
                  </a:cubicBezTo>
                  <a:cubicBezTo>
                    <a:pt x="709" y="92"/>
                    <a:pt x="709" y="91"/>
                    <a:pt x="709" y="91"/>
                  </a:cubicBezTo>
                  <a:cubicBezTo>
                    <a:pt x="708" y="88"/>
                    <a:pt x="704" y="85"/>
                    <a:pt x="701" y="85"/>
                  </a:cubicBezTo>
                  <a:cubicBezTo>
                    <a:pt x="697" y="86"/>
                    <a:pt x="699" y="91"/>
                    <a:pt x="703" y="94"/>
                  </a:cubicBezTo>
                  <a:close/>
                  <a:moveTo>
                    <a:pt x="671" y="81"/>
                  </a:moveTo>
                  <a:cubicBezTo>
                    <a:pt x="674" y="84"/>
                    <a:pt x="677" y="83"/>
                    <a:pt x="677" y="80"/>
                  </a:cubicBezTo>
                  <a:cubicBezTo>
                    <a:pt x="677" y="79"/>
                    <a:pt x="677" y="79"/>
                    <a:pt x="676" y="79"/>
                  </a:cubicBezTo>
                  <a:cubicBezTo>
                    <a:pt x="675" y="76"/>
                    <a:pt x="672" y="73"/>
                    <a:pt x="669" y="73"/>
                  </a:cubicBezTo>
                  <a:cubicBezTo>
                    <a:pt x="665" y="74"/>
                    <a:pt x="667" y="79"/>
                    <a:pt x="671" y="81"/>
                  </a:cubicBezTo>
                  <a:close/>
                  <a:moveTo>
                    <a:pt x="711" y="106"/>
                  </a:moveTo>
                  <a:cubicBezTo>
                    <a:pt x="714" y="109"/>
                    <a:pt x="718" y="108"/>
                    <a:pt x="717" y="105"/>
                  </a:cubicBezTo>
                  <a:cubicBezTo>
                    <a:pt x="717" y="104"/>
                    <a:pt x="717" y="104"/>
                    <a:pt x="717" y="103"/>
                  </a:cubicBezTo>
                  <a:cubicBezTo>
                    <a:pt x="715" y="101"/>
                    <a:pt x="712" y="97"/>
                    <a:pt x="708" y="98"/>
                  </a:cubicBezTo>
                  <a:cubicBezTo>
                    <a:pt x="705" y="98"/>
                    <a:pt x="706" y="104"/>
                    <a:pt x="711" y="106"/>
                  </a:cubicBezTo>
                  <a:close/>
                  <a:moveTo>
                    <a:pt x="851" y="180"/>
                  </a:moveTo>
                  <a:cubicBezTo>
                    <a:pt x="855" y="182"/>
                    <a:pt x="857" y="181"/>
                    <a:pt x="856" y="178"/>
                  </a:cubicBezTo>
                  <a:cubicBezTo>
                    <a:pt x="856" y="177"/>
                    <a:pt x="856" y="177"/>
                    <a:pt x="855" y="176"/>
                  </a:cubicBezTo>
                  <a:cubicBezTo>
                    <a:pt x="854" y="173"/>
                    <a:pt x="850" y="169"/>
                    <a:pt x="846" y="169"/>
                  </a:cubicBezTo>
                  <a:cubicBezTo>
                    <a:pt x="842" y="170"/>
                    <a:pt x="846" y="177"/>
                    <a:pt x="851" y="180"/>
                  </a:cubicBezTo>
                  <a:close/>
                  <a:moveTo>
                    <a:pt x="658" y="81"/>
                  </a:moveTo>
                  <a:cubicBezTo>
                    <a:pt x="661" y="84"/>
                    <a:pt x="665" y="83"/>
                    <a:pt x="664" y="79"/>
                  </a:cubicBezTo>
                  <a:cubicBezTo>
                    <a:pt x="664" y="79"/>
                    <a:pt x="664" y="79"/>
                    <a:pt x="664" y="79"/>
                  </a:cubicBezTo>
                  <a:cubicBezTo>
                    <a:pt x="663" y="76"/>
                    <a:pt x="660" y="73"/>
                    <a:pt x="656" y="73"/>
                  </a:cubicBezTo>
                  <a:cubicBezTo>
                    <a:pt x="653" y="74"/>
                    <a:pt x="654" y="79"/>
                    <a:pt x="658" y="81"/>
                  </a:cubicBezTo>
                  <a:close/>
                  <a:moveTo>
                    <a:pt x="724" y="106"/>
                  </a:moveTo>
                  <a:cubicBezTo>
                    <a:pt x="728" y="109"/>
                    <a:pt x="731" y="108"/>
                    <a:pt x="731" y="105"/>
                  </a:cubicBezTo>
                  <a:cubicBezTo>
                    <a:pt x="730" y="105"/>
                    <a:pt x="730" y="104"/>
                    <a:pt x="730" y="103"/>
                  </a:cubicBezTo>
                  <a:cubicBezTo>
                    <a:pt x="728" y="101"/>
                    <a:pt x="725" y="97"/>
                    <a:pt x="721" y="98"/>
                  </a:cubicBezTo>
                  <a:cubicBezTo>
                    <a:pt x="718" y="98"/>
                    <a:pt x="720" y="104"/>
                    <a:pt x="724" y="106"/>
                  </a:cubicBezTo>
                  <a:close/>
                  <a:moveTo>
                    <a:pt x="751" y="49"/>
                  </a:moveTo>
                  <a:cubicBezTo>
                    <a:pt x="753" y="50"/>
                    <a:pt x="755" y="50"/>
                    <a:pt x="755" y="49"/>
                  </a:cubicBezTo>
                  <a:cubicBezTo>
                    <a:pt x="755" y="49"/>
                    <a:pt x="754" y="48"/>
                    <a:pt x="752" y="47"/>
                  </a:cubicBezTo>
                  <a:cubicBezTo>
                    <a:pt x="749" y="44"/>
                    <a:pt x="744" y="42"/>
                    <a:pt x="743" y="42"/>
                  </a:cubicBezTo>
                  <a:cubicBezTo>
                    <a:pt x="741" y="43"/>
                    <a:pt x="747" y="47"/>
                    <a:pt x="751" y="49"/>
                  </a:cubicBezTo>
                  <a:close/>
                  <a:moveTo>
                    <a:pt x="766" y="49"/>
                  </a:moveTo>
                  <a:cubicBezTo>
                    <a:pt x="768" y="50"/>
                    <a:pt x="769" y="50"/>
                    <a:pt x="769" y="49"/>
                  </a:cubicBezTo>
                  <a:cubicBezTo>
                    <a:pt x="768" y="49"/>
                    <a:pt x="767" y="48"/>
                    <a:pt x="765" y="47"/>
                  </a:cubicBezTo>
                  <a:cubicBezTo>
                    <a:pt x="762" y="44"/>
                    <a:pt x="757" y="42"/>
                    <a:pt x="756" y="42"/>
                  </a:cubicBezTo>
                  <a:cubicBezTo>
                    <a:pt x="754" y="43"/>
                    <a:pt x="762" y="48"/>
                    <a:pt x="766" y="49"/>
                  </a:cubicBezTo>
                  <a:close/>
                  <a:moveTo>
                    <a:pt x="759" y="49"/>
                  </a:moveTo>
                  <a:cubicBezTo>
                    <a:pt x="761" y="50"/>
                    <a:pt x="762" y="50"/>
                    <a:pt x="762" y="49"/>
                  </a:cubicBezTo>
                  <a:cubicBezTo>
                    <a:pt x="762" y="49"/>
                    <a:pt x="761" y="48"/>
                    <a:pt x="758" y="47"/>
                  </a:cubicBezTo>
                  <a:cubicBezTo>
                    <a:pt x="755" y="44"/>
                    <a:pt x="751" y="42"/>
                    <a:pt x="749" y="42"/>
                  </a:cubicBezTo>
                  <a:cubicBezTo>
                    <a:pt x="748" y="43"/>
                    <a:pt x="755" y="48"/>
                    <a:pt x="759" y="49"/>
                  </a:cubicBezTo>
                  <a:close/>
                  <a:moveTo>
                    <a:pt x="723" y="124"/>
                  </a:moveTo>
                  <a:cubicBezTo>
                    <a:pt x="719" y="125"/>
                    <a:pt x="721" y="131"/>
                    <a:pt x="725" y="134"/>
                  </a:cubicBezTo>
                  <a:cubicBezTo>
                    <a:pt x="729" y="137"/>
                    <a:pt x="733" y="136"/>
                    <a:pt x="732" y="132"/>
                  </a:cubicBezTo>
                  <a:cubicBezTo>
                    <a:pt x="732" y="132"/>
                    <a:pt x="732" y="131"/>
                    <a:pt x="732" y="130"/>
                  </a:cubicBezTo>
                  <a:cubicBezTo>
                    <a:pt x="731" y="128"/>
                    <a:pt x="727" y="124"/>
                    <a:pt x="723" y="124"/>
                  </a:cubicBezTo>
                  <a:close/>
                  <a:moveTo>
                    <a:pt x="737" y="106"/>
                  </a:moveTo>
                  <a:cubicBezTo>
                    <a:pt x="741" y="109"/>
                    <a:pt x="744" y="108"/>
                    <a:pt x="743" y="105"/>
                  </a:cubicBezTo>
                  <a:cubicBezTo>
                    <a:pt x="743" y="105"/>
                    <a:pt x="743" y="104"/>
                    <a:pt x="743" y="103"/>
                  </a:cubicBezTo>
                  <a:cubicBezTo>
                    <a:pt x="741" y="101"/>
                    <a:pt x="737" y="97"/>
                    <a:pt x="734" y="98"/>
                  </a:cubicBezTo>
                  <a:cubicBezTo>
                    <a:pt x="730" y="98"/>
                    <a:pt x="733" y="104"/>
                    <a:pt x="737" y="106"/>
                  </a:cubicBezTo>
                  <a:close/>
                  <a:moveTo>
                    <a:pt x="427" y="24"/>
                  </a:moveTo>
                  <a:cubicBezTo>
                    <a:pt x="428" y="24"/>
                    <a:pt x="431" y="23"/>
                    <a:pt x="434" y="21"/>
                  </a:cubicBezTo>
                  <a:cubicBezTo>
                    <a:pt x="437" y="20"/>
                    <a:pt x="439" y="18"/>
                    <a:pt x="439" y="18"/>
                  </a:cubicBezTo>
                  <a:cubicBezTo>
                    <a:pt x="439" y="18"/>
                    <a:pt x="438" y="18"/>
                    <a:pt x="438" y="18"/>
                  </a:cubicBezTo>
                  <a:cubicBezTo>
                    <a:pt x="434" y="18"/>
                    <a:pt x="426" y="23"/>
                    <a:pt x="427" y="24"/>
                  </a:cubicBezTo>
                  <a:close/>
                  <a:moveTo>
                    <a:pt x="406" y="25"/>
                  </a:moveTo>
                  <a:cubicBezTo>
                    <a:pt x="402" y="26"/>
                    <a:pt x="393" y="31"/>
                    <a:pt x="394" y="32"/>
                  </a:cubicBezTo>
                  <a:cubicBezTo>
                    <a:pt x="394" y="32"/>
                    <a:pt x="398" y="31"/>
                    <a:pt x="402" y="29"/>
                  </a:cubicBezTo>
                  <a:cubicBezTo>
                    <a:pt x="405" y="27"/>
                    <a:pt x="407" y="25"/>
                    <a:pt x="407" y="25"/>
                  </a:cubicBezTo>
                  <a:cubicBezTo>
                    <a:pt x="407" y="25"/>
                    <a:pt x="406" y="25"/>
                    <a:pt x="406" y="25"/>
                  </a:cubicBezTo>
                  <a:close/>
                  <a:moveTo>
                    <a:pt x="412" y="25"/>
                  </a:moveTo>
                  <a:cubicBezTo>
                    <a:pt x="408" y="26"/>
                    <a:pt x="399" y="31"/>
                    <a:pt x="400" y="32"/>
                  </a:cubicBezTo>
                  <a:cubicBezTo>
                    <a:pt x="401" y="32"/>
                    <a:pt x="404" y="31"/>
                    <a:pt x="408" y="29"/>
                  </a:cubicBezTo>
                  <a:cubicBezTo>
                    <a:pt x="411" y="27"/>
                    <a:pt x="413" y="25"/>
                    <a:pt x="412" y="25"/>
                  </a:cubicBezTo>
                  <a:cubicBezTo>
                    <a:pt x="412" y="25"/>
                    <a:pt x="412" y="25"/>
                    <a:pt x="412" y="25"/>
                  </a:cubicBezTo>
                  <a:close/>
                  <a:moveTo>
                    <a:pt x="427" y="18"/>
                  </a:moveTo>
                  <a:cubicBezTo>
                    <a:pt x="423" y="18"/>
                    <a:pt x="414" y="23"/>
                    <a:pt x="415" y="24"/>
                  </a:cubicBezTo>
                  <a:cubicBezTo>
                    <a:pt x="416" y="24"/>
                    <a:pt x="419" y="23"/>
                    <a:pt x="423" y="21"/>
                  </a:cubicBezTo>
                  <a:cubicBezTo>
                    <a:pt x="426" y="20"/>
                    <a:pt x="428" y="18"/>
                    <a:pt x="428" y="18"/>
                  </a:cubicBezTo>
                  <a:cubicBezTo>
                    <a:pt x="427" y="18"/>
                    <a:pt x="427" y="18"/>
                    <a:pt x="427" y="18"/>
                  </a:cubicBezTo>
                  <a:close/>
                  <a:moveTo>
                    <a:pt x="407" y="32"/>
                  </a:moveTo>
                  <a:cubicBezTo>
                    <a:pt x="407" y="32"/>
                    <a:pt x="411" y="31"/>
                    <a:pt x="414" y="29"/>
                  </a:cubicBezTo>
                  <a:cubicBezTo>
                    <a:pt x="417" y="27"/>
                    <a:pt x="419" y="25"/>
                    <a:pt x="418" y="25"/>
                  </a:cubicBezTo>
                  <a:cubicBezTo>
                    <a:pt x="418" y="25"/>
                    <a:pt x="418" y="25"/>
                    <a:pt x="418" y="25"/>
                  </a:cubicBezTo>
                  <a:cubicBezTo>
                    <a:pt x="414" y="26"/>
                    <a:pt x="405" y="31"/>
                    <a:pt x="407" y="32"/>
                  </a:cubicBezTo>
                  <a:close/>
                  <a:moveTo>
                    <a:pt x="796" y="218"/>
                  </a:moveTo>
                  <a:cubicBezTo>
                    <a:pt x="791" y="219"/>
                    <a:pt x="792" y="227"/>
                    <a:pt x="797" y="231"/>
                  </a:cubicBezTo>
                  <a:cubicBezTo>
                    <a:pt x="802" y="234"/>
                    <a:pt x="806" y="232"/>
                    <a:pt x="805" y="227"/>
                  </a:cubicBezTo>
                  <a:cubicBezTo>
                    <a:pt x="805" y="226"/>
                    <a:pt x="805" y="226"/>
                    <a:pt x="805" y="226"/>
                  </a:cubicBezTo>
                  <a:cubicBezTo>
                    <a:pt x="804" y="223"/>
                    <a:pt x="801" y="218"/>
                    <a:pt x="796" y="218"/>
                  </a:cubicBezTo>
                  <a:close/>
                  <a:moveTo>
                    <a:pt x="1077" y="326"/>
                  </a:moveTo>
                  <a:cubicBezTo>
                    <a:pt x="1076" y="325"/>
                    <a:pt x="1074" y="320"/>
                    <a:pt x="1074" y="319"/>
                  </a:cubicBezTo>
                  <a:cubicBezTo>
                    <a:pt x="1072" y="316"/>
                    <a:pt x="1070" y="312"/>
                    <a:pt x="1069" y="311"/>
                  </a:cubicBezTo>
                  <a:cubicBezTo>
                    <a:pt x="1069" y="311"/>
                    <a:pt x="1069" y="311"/>
                    <a:pt x="1069" y="311"/>
                  </a:cubicBezTo>
                  <a:cubicBezTo>
                    <a:pt x="1069" y="312"/>
                    <a:pt x="1075" y="325"/>
                    <a:pt x="1076" y="326"/>
                  </a:cubicBezTo>
                  <a:cubicBezTo>
                    <a:pt x="1076" y="326"/>
                    <a:pt x="1077" y="326"/>
                    <a:pt x="1077" y="326"/>
                  </a:cubicBezTo>
                  <a:close/>
                  <a:moveTo>
                    <a:pt x="1076" y="324"/>
                  </a:moveTo>
                  <a:cubicBezTo>
                    <a:pt x="1075" y="320"/>
                    <a:pt x="1073" y="317"/>
                    <a:pt x="1071" y="313"/>
                  </a:cubicBezTo>
                  <a:cubicBezTo>
                    <a:pt x="1071" y="312"/>
                    <a:pt x="1071" y="312"/>
                    <a:pt x="1071" y="312"/>
                  </a:cubicBezTo>
                  <a:cubicBezTo>
                    <a:pt x="1071" y="312"/>
                    <a:pt x="1071" y="311"/>
                    <a:pt x="1070" y="311"/>
                  </a:cubicBezTo>
                  <a:cubicBezTo>
                    <a:pt x="1070" y="311"/>
                    <a:pt x="1070" y="311"/>
                    <a:pt x="1070" y="311"/>
                  </a:cubicBezTo>
                  <a:cubicBezTo>
                    <a:pt x="1071" y="312"/>
                    <a:pt x="1077" y="325"/>
                    <a:pt x="1077" y="326"/>
                  </a:cubicBezTo>
                  <a:cubicBezTo>
                    <a:pt x="1077" y="326"/>
                    <a:pt x="1077" y="326"/>
                    <a:pt x="1076" y="324"/>
                  </a:cubicBezTo>
                  <a:close/>
                  <a:moveTo>
                    <a:pt x="441" y="16"/>
                  </a:moveTo>
                  <a:cubicBezTo>
                    <a:pt x="442" y="17"/>
                    <a:pt x="445" y="16"/>
                    <a:pt x="448" y="14"/>
                  </a:cubicBezTo>
                  <a:cubicBezTo>
                    <a:pt x="451" y="13"/>
                    <a:pt x="453" y="11"/>
                    <a:pt x="453" y="11"/>
                  </a:cubicBezTo>
                  <a:cubicBezTo>
                    <a:pt x="453" y="11"/>
                    <a:pt x="453" y="11"/>
                    <a:pt x="452" y="11"/>
                  </a:cubicBezTo>
                  <a:cubicBezTo>
                    <a:pt x="449" y="12"/>
                    <a:pt x="440" y="16"/>
                    <a:pt x="441" y="16"/>
                  </a:cubicBezTo>
                  <a:close/>
                  <a:moveTo>
                    <a:pt x="808" y="213"/>
                  </a:moveTo>
                  <a:cubicBezTo>
                    <a:pt x="812" y="216"/>
                    <a:pt x="816" y="215"/>
                    <a:pt x="815" y="210"/>
                  </a:cubicBezTo>
                  <a:cubicBezTo>
                    <a:pt x="815" y="210"/>
                    <a:pt x="815" y="209"/>
                    <a:pt x="815" y="209"/>
                  </a:cubicBezTo>
                  <a:cubicBezTo>
                    <a:pt x="814" y="205"/>
                    <a:pt x="810" y="201"/>
                    <a:pt x="805" y="201"/>
                  </a:cubicBezTo>
                  <a:cubicBezTo>
                    <a:pt x="801" y="202"/>
                    <a:pt x="803" y="210"/>
                    <a:pt x="808" y="213"/>
                  </a:cubicBezTo>
                  <a:close/>
                  <a:moveTo>
                    <a:pt x="433" y="18"/>
                  </a:moveTo>
                  <a:cubicBezTo>
                    <a:pt x="429" y="18"/>
                    <a:pt x="420" y="23"/>
                    <a:pt x="421" y="24"/>
                  </a:cubicBezTo>
                  <a:cubicBezTo>
                    <a:pt x="421" y="24"/>
                    <a:pt x="425" y="23"/>
                    <a:pt x="428" y="21"/>
                  </a:cubicBezTo>
                  <a:cubicBezTo>
                    <a:pt x="431" y="20"/>
                    <a:pt x="434" y="18"/>
                    <a:pt x="433" y="18"/>
                  </a:cubicBezTo>
                  <a:cubicBezTo>
                    <a:pt x="433" y="18"/>
                    <a:pt x="433" y="18"/>
                    <a:pt x="433" y="18"/>
                  </a:cubicBezTo>
                  <a:close/>
                  <a:moveTo>
                    <a:pt x="467" y="5"/>
                  </a:moveTo>
                  <a:cubicBezTo>
                    <a:pt x="464" y="6"/>
                    <a:pt x="456" y="9"/>
                    <a:pt x="455" y="10"/>
                  </a:cubicBezTo>
                  <a:cubicBezTo>
                    <a:pt x="456" y="10"/>
                    <a:pt x="460" y="9"/>
                    <a:pt x="462" y="8"/>
                  </a:cubicBezTo>
                  <a:cubicBezTo>
                    <a:pt x="463" y="7"/>
                    <a:pt x="467" y="6"/>
                    <a:pt x="467" y="5"/>
                  </a:cubicBezTo>
                  <a:cubicBezTo>
                    <a:pt x="467" y="5"/>
                    <a:pt x="467" y="5"/>
                    <a:pt x="467" y="5"/>
                  </a:cubicBezTo>
                  <a:close/>
                  <a:moveTo>
                    <a:pt x="463" y="5"/>
                  </a:moveTo>
                  <a:cubicBezTo>
                    <a:pt x="460" y="6"/>
                    <a:pt x="451" y="9"/>
                    <a:pt x="451" y="10"/>
                  </a:cubicBezTo>
                  <a:cubicBezTo>
                    <a:pt x="451" y="10"/>
                    <a:pt x="457" y="8"/>
                    <a:pt x="458" y="8"/>
                  </a:cubicBezTo>
                  <a:cubicBezTo>
                    <a:pt x="459" y="7"/>
                    <a:pt x="462" y="6"/>
                    <a:pt x="463" y="5"/>
                  </a:cubicBezTo>
                  <a:cubicBezTo>
                    <a:pt x="463" y="5"/>
                    <a:pt x="463" y="5"/>
                    <a:pt x="463" y="5"/>
                  </a:cubicBezTo>
                  <a:cubicBezTo>
                    <a:pt x="463" y="5"/>
                    <a:pt x="463" y="5"/>
                    <a:pt x="463" y="5"/>
                  </a:cubicBezTo>
                  <a:close/>
                  <a:moveTo>
                    <a:pt x="447" y="11"/>
                  </a:moveTo>
                  <a:cubicBezTo>
                    <a:pt x="444" y="12"/>
                    <a:pt x="435" y="16"/>
                    <a:pt x="436" y="16"/>
                  </a:cubicBezTo>
                  <a:cubicBezTo>
                    <a:pt x="436" y="17"/>
                    <a:pt x="439" y="16"/>
                    <a:pt x="443" y="14"/>
                  </a:cubicBezTo>
                  <a:cubicBezTo>
                    <a:pt x="443" y="14"/>
                    <a:pt x="448" y="12"/>
                    <a:pt x="448" y="11"/>
                  </a:cubicBezTo>
                  <a:cubicBezTo>
                    <a:pt x="448" y="11"/>
                    <a:pt x="448" y="11"/>
                    <a:pt x="447" y="11"/>
                  </a:cubicBezTo>
                  <a:close/>
                  <a:moveTo>
                    <a:pt x="649" y="94"/>
                  </a:moveTo>
                  <a:cubicBezTo>
                    <a:pt x="653" y="96"/>
                    <a:pt x="657" y="95"/>
                    <a:pt x="656" y="92"/>
                  </a:cubicBezTo>
                  <a:cubicBezTo>
                    <a:pt x="656" y="91"/>
                    <a:pt x="656" y="91"/>
                    <a:pt x="656" y="91"/>
                  </a:cubicBezTo>
                  <a:cubicBezTo>
                    <a:pt x="655" y="88"/>
                    <a:pt x="652" y="85"/>
                    <a:pt x="649" y="85"/>
                  </a:cubicBezTo>
                  <a:cubicBezTo>
                    <a:pt x="645" y="86"/>
                    <a:pt x="646" y="91"/>
                    <a:pt x="649" y="94"/>
                  </a:cubicBezTo>
                  <a:close/>
                  <a:moveTo>
                    <a:pt x="832" y="197"/>
                  </a:moveTo>
                  <a:cubicBezTo>
                    <a:pt x="836" y="199"/>
                    <a:pt x="839" y="197"/>
                    <a:pt x="838" y="193"/>
                  </a:cubicBezTo>
                  <a:cubicBezTo>
                    <a:pt x="838" y="193"/>
                    <a:pt x="837" y="192"/>
                    <a:pt x="837" y="192"/>
                  </a:cubicBezTo>
                  <a:cubicBezTo>
                    <a:pt x="836" y="189"/>
                    <a:pt x="832" y="185"/>
                    <a:pt x="828" y="185"/>
                  </a:cubicBezTo>
                  <a:cubicBezTo>
                    <a:pt x="823" y="186"/>
                    <a:pt x="827" y="194"/>
                    <a:pt x="832" y="197"/>
                  </a:cubicBezTo>
                  <a:close/>
                  <a:moveTo>
                    <a:pt x="865" y="135"/>
                  </a:moveTo>
                  <a:cubicBezTo>
                    <a:pt x="867" y="136"/>
                    <a:pt x="868" y="136"/>
                    <a:pt x="868" y="134"/>
                  </a:cubicBezTo>
                  <a:cubicBezTo>
                    <a:pt x="868" y="133"/>
                    <a:pt x="867" y="132"/>
                    <a:pt x="866" y="130"/>
                  </a:cubicBezTo>
                  <a:cubicBezTo>
                    <a:pt x="863" y="128"/>
                    <a:pt x="859" y="124"/>
                    <a:pt x="856" y="124"/>
                  </a:cubicBezTo>
                  <a:cubicBezTo>
                    <a:pt x="854" y="125"/>
                    <a:pt x="860" y="132"/>
                    <a:pt x="865" y="135"/>
                  </a:cubicBezTo>
                  <a:close/>
                  <a:moveTo>
                    <a:pt x="847" y="124"/>
                  </a:moveTo>
                  <a:cubicBezTo>
                    <a:pt x="844" y="125"/>
                    <a:pt x="850" y="132"/>
                    <a:pt x="855" y="135"/>
                  </a:cubicBezTo>
                  <a:cubicBezTo>
                    <a:pt x="857" y="136"/>
                    <a:pt x="859" y="136"/>
                    <a:pt x="858" y="133"/>
                  </a:cubicBezTo>
                  <a:cubicBezTo>
                    <a:pt x="858" y="133"/>
                    <a:pt x="857" y="132"/>
                    <a:pt x="856" y="130"/>
                  </a:cubicBezTo>
                  <a:cubicBezTo>
                    <a:pt x="854" y="128"/>
                    <a:pt x="849" y="124"/>
                    <a:pt x="847" y="124"/>
                  </a:cubicBezTo>
                  <a:close/>
                  <a:moveTo>
                    <a:pt x="853" y="117"/>
                  </a:moveTo>
                  <a:cubicBezTo>
                    <a:pt x="850" y="114"/>
                    <a:pt x="846" y="110"/>
                    <a:pt x="843" y="111"/>
                  </a:cubicBezTo>
                  <a:cubicBezTo>
                    <a:pt x="841" y="112"/>
                    <a:pt x="847" y="118"/>
                    <a:pt x="852" y="121"/>
                  </a:cubicBezTo>
                  <a:cubicBezTo>
                    <a:pt x="854" y="122"/>
                    <a:pt x="855" y="122"/>
                    <a:pt x="855" y="120"/>
                  </a:cubicBezTo>
                  <a:cubicBezTo>
                    <a:pt x="855" y="119"/>
                    <a:pt x="854" y="118"/>
                    <a:pt x="853" y="117"/>
                  </a:cubicBezTo>
                  <a:close/>
                  <a:moveTo>
                    <a:pt x="901" y="181"/>
                  </a:moveTo>
                  <a:cubicBezTo>
                    <a:pt x="903" y="182"/>
                    <a:pt x="905" y="181"/>
                    <a:pt x="904" y="179"/>
                  </a:cubicBezTo>
                  <a:cubicBezTo>
                    <a:pt x="904" y="178"/>
                    <a:pt x="903" y="177"/>
                    <a:pt x="903" y="176"/>
                  </a:cubicBezTo>
                  <a:cubicBezTo>
                    <a:pt x="901" y="173"/>
                    <a:pt x="896" y="169"/>
                    <a:pt x="894" y="169"/>
                  </a:cubicBezTo>
                  <a:cubicBezTo>
                    <a:pt x="890" y="170"/>
                    <a:pt x="896" y="178"/>
                    <a:pt x="901" y="181"/>
                  </a:cubicBezTo>
                  <a:close/>
                  <a:moveTo>
                    <a:pt x="834" y="111"/>
                  </a:moveTo>
                  <a:cubicBezTo>
                    <a:pt x="831" y="111"/>
                    <a:pt x="837" y="118"/>
                    <a:pt x="842" y="120"/>
                  </a:cubicBezTo>
                  <a:cubicBezTo>
                    <a:pt x="844" y="122"/>
                    <a:pt x="846" y="122"/>
                    <a:pt x="845" y="120"/>
                  </a:cubicBezTo>
                  <a:cubicBezTo>
                    <a:pt x="845" y="119"/>
                    <a:pt x="845" y="118"/>
                    <a:pt x="843" y="117"/>
                  </a:cubicBezTo>
                  <a:cubicBezTo>
                    <a:pt x="841" y="114"/>
                    <a:pt x="836" y="110"/>
                    <a:pt x="834" y="111"/>
                  </a:cubicBezTo>
                  <a:close/>
                  <a:moveTo>
                    <a:pt x="889" y="165"/>
                  </a:moveTo>
                  <a:cubicBezTo>
                    <a:pt x="892" y="166"/>
                    <a:pt x="893" y="166"/>
                    <a:pt x="893" y="163"/>
                  </a:cubicBezTo>
                  <a:cubicBezTo>
                    <a:pt x="892" y="163"/>
                    <a:pt x="892" y="162"/>
                    <a:pt x="891" y="160"/>
                  </a:cubicBezTo>
                  <a:cubicBezTo>
                    <a:pt x="889" y="157"/>
                    <a:pt x="884" y="153"/>
                    <a:pt x="882" y="153"/>
                  </a:cubicBezTo>
                  <a:cubicBezTo>
                    <a:pt x="879" y="154"/>
                    <a:pt x="884" y="162"/>
                    <a:pt x="889" y="165"/>
                  </a:cubicBezTo>
                  <a:close/>
                  <a:moveTo>
                    <a:pt x="841" y="165"/>
                  </a:moveTo>
                  <a:cubicBezTo>
                    <a:pt x="845" y="167"/>
                    <a:pt x="847" y="166"/>
                    <a:pt x="846" y="162"/>
                  </a:cubicBezTo>
                  <a:cubicBezTo>
                    <a:pt x="846" y="162"/>
                    <a:pt x="846" y="161"/>
                    <a:pt x="845" y="160"/>
                  </a:cubicBezTo>
                  <a:cubicBezTo>
                    <a:pt x="843" y="157"/>
                    <a:pt x="839" y="153"/>
                    <a:pt x="836" y="153"/>
                  </a:cubicBezTo>
                  <a:cubicBezTo>
                    <a:pt x="832" y="154"/>
                    <a:pt x="836" y="162"/>
                    <a:pt x="841" y="165"/>
                  </a:cubicBezTo>
                  <a:close/>
                  <a:moveTo>
                    <a:pt x="882" y="163"/>
                  </a:moveTo>
                  <a:cubicBezTo>
                    <a:pt x="881" y="162"/>
                    <a:pt x="881" y="161"/>
                    <a:pt x="880" y="160"/>
                  </a:cubicBezTo>
                  <a:cubicBezTo>
                    <a:pt x="878" y="157"/>
                    <a:pt x="874" y="153"/>
                    <a:pt x="871" y="153"/>
                  </a:cubicBezTo>
                  <a:cubicBezTo>
                    <a:pt x="868" y="154"/>
                    <a:pt x="873" y="162"/>
                    <a:pt x="878" y="165"/>
                  </a:cubicBezTo>
                  <a:cubicBezTo>
                    <a:pt x="881" y="166"/>
                    <a:pt x="883" y="165"/>
                    <a:pt x="882" y="163"/>
                  </a:cubicBezTo>
                  <a:close/>
                  <a:moveTo>
                    <a:pt x="824" y="213"/>
                  </a:moveTo>
                  <a:cubicBezTo>
                    <a:pt x="828" y="216"/>
                    <a:pt x="832" y="215"/>
                    <a:pt x="831" y="210"/>
                  </a:cubicBezTo>
                  <a:cubicBezTo>
                    <a:pt x="831" y="210"/>
                    <a:pt x="831" y="209"/>
                    <a:pt x="830" y="209"/>
                  </a:cubicBezTo>
                  <a:cubicBezTo>
                    <a:pt x="829" y="205"/>
                    <a:pt x="825" y="201"/>
                    <a:pt x="821" y="201"/>
                  </a:cubicBezTo>
                  <a:cubicBezTo>
                    <a:pt x="816" y="202"/>
                    <a:pt x="819" y="210"/>
                    <a:pt x="824" y="213"/>
                  </a:cubicBezTo>
                  <a:close/>
                  <a:moveTo>
                    <a:pt x="837" y="180"/>
                  </a:moveTo>
                  <a:cubicBezTo>
                    <a:pt x="841" y="183"/>
                    <a:pt x="844" y="181"/>
                    <a:pt x="843" y="178"/>
                  </a:cubicBezTo>
                  <a:cubicBezTo>
                    <a:pt x="843" y="177"/>
                    <a:pt x="842" y="176"/>
                    <a:pt x="842" y="176"/>
                  </a:cubicBezTo>
                  <a:cubicBezTo>
                    <a:pt x="841" y="173"/>
                    <a:pt x="836" y="169"/>
                    <a:pt x="833" y="169"/>
                  </a:cubicBezTo>
                  <a:cubicBezTo>
                    <a:pt x="829" y="170"/>
                    <a:pt x="832" y="177"/>
                    <a:pt x="837" y="180"/>
                  </a:cubicBezTo>
                  <a:close/>
                  <a:moveTo>
                    <a:pt x="822" y="192"/>
                  </a:moveTo>
                  <a:cubicBezTo>
                    <a:pt x="821" y="189"/>
                    <a:pt x="817" y="185"/>
                    <a:pt x="813" y="185"/>
                  </a:cubicBezTo>
                  <a:cubicBezTo>
                    <a:pt x="809" y="186"/>
                    <a:pt x="811" y="193"/>
                    <a:pt x="816" y="196"/>
                  </a:cubicBezTo>
                  <a:cubicBezTo>
                    <a:pt x="820" y="199"/>
                    <a:pt x="824" y="198"/>
                    <a:pt x="823" y="194"/>
                  </a:cubicBezTo>
                  <a:cubicBezTo>
                    <a:pt x="823" y="193"/>
                    <a:pt x="823" y="193"/>
                    <a:pt x="822" y="192"/>
                  </a:cubicBezTo>
                  <a:close/>
                  <a:moveTo>
                    <a:pt x="843" y="149"/>
                  </a:moveTo>
                  <a:cubicBezTo>
                    <a:pt x="846" y="151"/>
                    <a:pt x="849" y="150"/>
                    <a:pt x="848" y="148"/>
                  </a:cubicBezTo>
                  <a:cubicBezTo>
                    <a:pt x="848" y="147"/>
                    <a:pt x="847" y="146"/>
                    <a:pt x="846" y="145"/>
                  </a:cubicBezTo>
                  <a:cubicBezTo>
                    <a:pt x="844" y="142"/>
                    <a:pt x="840" y="138"/>
                    <a:pt x="837" y="139"/>
                  </a:cubicBezTo>
                  <a:cubicBezTo>
                    <a:pt x="834" y="140"/>
                    <a:pt x="838" y="146"/>
                    <a:pt x="843" y="149"/>
                  </a:cubicBezTo>
                  <a:close/>
                  <a:moveTo>
                    <a:pt x="843" y="135"/>
                  </a:moveTo>
                  <a:cubicBezTo>
                    <a:pt x="846" y="136"/>
                    <a:pt x="848" y="136"/>
                    <a:pt x="847" y="133"/>
                  </a:cubicBezTo>
                  <a:cubicBezTo>
                    <a:pt x="847" y="133"/>
                    <a:pt x="847" y="132"/>
                    <a:pt x="846" y="130"/>
                  </a:cubicBezTo>
                  <a:cubicBezTo>
                    <a:pt x="844" y="128"/>
                    <a:pt x="839" y="124"/>
                    <a:pt x="836" y="124"/>
                  </a:cubicBezTo>
                  <a:cubicBezTo>
                    <a:pt x="833" y="125"/>
                    <a:pt x="838" y="132"/>
                    <a:pt x="843" y="135"/>
                  </a:cubicBezTo>
                  <a:close/>
                  <a:moveTo>
                    <a:pt x="861" y="210"/>
                  </a:moveTo>
                  <a:cubicBezTo>
                    <a:pt x="861" y="210"/>
                    <a:pt x="861" y="209"/>
                    <a:pt x="860" y="209"/>
                  </a:cubicBezTo>
                  <a:cubicBezTo>
                    <a:pt x="859" y="205"/>
                    <a:pt x="855" y="201"/>
                    <a:pt x="851" y="201"/>
                  </a:cubicBezTo>
                  <a:cubicBezTo>
                    <a:pt x="846" y="202"/>
                    <a:pt x="850" y="210"/>
                    <a:pt x="855" y="214"/>
                  </a:cubicBezTo>
                  <a:cubicBezTo>
                    <a:pt x="859" y="216"/>
                    <a:pt x="862" y="214"/>
                    <a:pt x="861" y="210"/>
                  </a:cubicBezTo>
                  <a:close/>
                  <a:moveTo>
                    <a:pt x="822" y="227"/>
                  </a:moveTo>
                  <a:cubicBezTo>
                    <a:pt x="822" y="226"/>
                    <a:pt x="822" y="226"/>
                    <a:pt x="822" y="226"/>
                  </a:cubicBezTo>
                  <a:cubicBezTo>
                    <a:pt x="821" y="223"/>
                    <a:pt x="817" y="218"/>
                    <a:pt x="813" y="218"/>
                  </a:cubicBezTo>
                  <a:cubicBezTo>
                    <a:pt x="807" y="219"/>
                    <a:pt x="810" y="228"/>
                    <a:pt x="815" y="231"/>
                  </a:cubicBezTo>
                  <a:cubicBezTo>
                    <a:pt x="819" y="234"/>
                    <a:pt x="823" y="231"/>
                    <a:pt x="822" y="227"/>
                  </a:cubicBezTo>
                  <a:close/>
                  <a:moveTo>
                    <a:pt x="335" y="71"/>
                  </a:moveTo>
                  <a:cubicBezTo>
                    <a:pt x="336" y="72"/>
                    <a:pt x="340" y="70"/>
                    <a:pt x="343" y="67"/>
                  </a:cubicBezTo>
                  <a:cubicBezTo>
                    <a:pt x="346" y="65"/>
                    <a:pt x="348" y="63"/>
                    <a:pt x="347" y="62"/>
                  </a:cubicBezTo>
                  <a:cubicBezTo>
                    <a:pt x="347" y="62"/>
                    <a:pt x="346" y="62"/>
                    <a:pt x="346" y="62"/>
                  </a:cubicBezTo>
                  <a:cubicBezTo>
                    <a:pt x="341" y="63"/>
                    <a:pt x="333" y="70"/>
                    <a:pt x="335" y="71"/>
                  </a:cubicBezTo>
                  <a:close/>
                  <a:moveTo>
                    <a:pt x="810" y="267"/>
                  </a:moveTo>
                  <a:cubicBezTo>
                    <a:pt x="815" y="270"/>
                    <a:pt x="819" y="267"/>
                    <a:pt x="818" y="262"/>
                  </a:cubicBezTo>
                  <a:cubicBezTo>
                    <a:pt x="817" y="258"/>
                    <a:pt x="813" y="254"/>
                    <a:pt x="808" y="254"/>
                  </a:cubicBezTo>
                  <a:cubicBezTo>
                    <a:pt x="802" y="255"/>
                    <a:pt x="804" y="264"/>
                    <a:pt x="810" y="267"/>
                  </a:cubicBezTo>
                  <a:close/>
                  <a:moveTo>
                    <a:pt x="1043" y="311"/>
                  </a:moveTo>
                  <a:cubicBezTo>
                    <a:pt x="1040" y="312"/>
                    <a:pt x="1047" y="326"/>
                    <a:pt x="1049" y="326"/>
                  </a:cubicBezTo>
                  <a:cubicBezTo>
                    <a:pt x="1051" y="327"/>
                    <a:pt x="1051" y="324"/>
                    <a:pt x="1049" y="319"/>
                  </a:cubicBezTo>
                  <a:cubicBezTo>
                    <a:pt x="1048" y="315"/>
                    <a:pt x="1045" y="310"/>
                    <a:pt x="1043" y="311"/>
                  </a:cubicBezTo>
                  <a:close/>
                  <a:moveTo>
                    <a:pt x="330" y="83"/>
                  </a:moveTo>
                  <a:cubicBezTo>
                    <a:pt x="330" y="83"/>
                    <a:pt x="335" y="82"/>
                    <a:pt x="338" y="79"/>
                  </a:cubicBezTo>
                  <a:cubicBezTo>
                    <a:pt x="341" y="76"/>
                    <a:pt x="342" y="74"/>
                    <a:pt x="341" y="73"/>
                  </a:cubicBezTo>
                  <a:cubicBezTo>
                    <a:pt x="341" y="73"/>
                    <a:pt x="341" y="73"/>
                    <a:pt x="340" y="73"/>
                  </a:cubicBezTo>
                  <a:cubicBezTo>
                    <a:pt x="336" y="74"/>
                    <a:pt x="328" y="81"/>
                    <a:pt x="330" y="83"/>
                  </a:cubicBezTo>
                  <a:close/>
                  <a:moveTo>
                    <a:pt x="802" y="236"/>
                  </a:moveTo>
                  <a:cubicBezTo>
                    <a:pt x="797" y="237"/>
                    <a:pt x="798" y="245"/>
                    <a:pt x="803" y="248"/>
                  </a:cubicBezTo>
                  <a:cubicBezTo>
                    <a:pt x="808" y="252"/>
                    <a:pt x="813" y="250"/>
                    <a:pt x="812" y="244"/>
                  </a:cubicBezTo>
                  <a:cubicBezTo>
                    <a:pt x="812" y="244"/>
                    <a:pt x="812" y="244"/>
                    <a:pt x="812" y="244"/>
                  </a:cubicBezTo>
                  <a:cubicBezTo>
                    <a:pt x="811" y="240"/>
                    <a:pt x="807" y="236"/>
                    <a:pt x="802" y="236"/>
                  </a:cubicBezTo>
                  <a:close/>
                  <a:moveTo>
                    <a:pt x="1035" y="311"/>
                  </a:moveTo>
                  <a:cubicBezTo>
                    <a:pt x="1032" y="312"/>
                    <a:pt x="1039" y="326"/>
                    <a:pt x="1042" y="326"/>
                  </a:cubicBezTo>
                  <a:cubicBezTo>
                    <a:pt x="1043" y="327"/>
                    <a:pt x="1043" y="324"/>
                    <a:pt x="1042" y="319"/>
                  </a:cubicBezTo>
                  <a:cubicBezTo>
                    <a:pt x="1040" y="315"/>
                    <a:pt x="1037" y="310"/>
                    <a:pt x="1035" y="311"/>
                  </a:cubicBezTo>
                  <a:close/>
                  <a:moveTo>
                    <a:pt x="504" y="201"/>
                  </a:moveTo>
                  <a:cubicBezTo>
                    <a:pt x="497" y="202"/>
                    <a:pt x="495" y="210"/>
                    <a:pt x="499" y="214"/>
                  </a:cubicBezTo>
                  <a:cubicBezTo>
                    <a:pt x="504" y="217"/>
                    <a:pt x="510" y="214"/>
                    <a:pt x="511" y="209"/>
                  </a:cubicBezTo>
                  <a:cubicBezTo>
                    <a:pt x="512" y="205"/>
                    <a:pt x="509" y="201"/>
                    <a:pt x="504" y="201"/>
                  </a:cubicBezTo>
                  <a:close/>
                  <a:moveTo>
                    <a:pt x="821" y="249"/>
                  </a:moveTo>
                  <a:cubicBezTo>
                    <a:pt x="826" y="252"/>
                    <a:pt x="830" y="249"/>
                    <a:pt x="829" y="244"/>
                  </a:cubicBezTo>
                  <a:cubicBezTo>
                    <a:pt x="829" y="244"/>
                    <a:pt x="829" y="244"/>
                    <a:pt x="829" y="244"/>
                  </a:cubicBezTo>
                  <a:cubicBezTo>
                    <a:pt x="828" y="240"/>
                    <a:pt x="824" y="236"/>
                    <a:pt x="819" y="236"/>
                  </a:cubicBezTo>
                  <a:cubicBezTo>
                    <a:pt x="814" y="237"/>
                    <a:pt x="816" y="245"/>
                    <a:pt x="821" y="249"/>
                  </a:cubicBezTo>
                  <a:close/>
                  <a:moveTo>
                    <a:pt x="508" y="169"/>
                  </a:moveTo>
                  <a:cubicBezTo>
                    <a:pt x="501" y="170"/>
                    <a:pt x="499" y="177"/>
                    <a:pt x="503" y="180"/>
                  </a:cubicBezTo>
                  <a:cubicBezTo>
                    <a:pt x="507" y="183"/>
                    <a:pt x="513" y="181"/>
                    <a:pt x="514" y="176"/>
                  </a:cubicBezTo>
                  <a:cubicBezTo>
                    <a:pt x="515" y="173"/>
                    <a:pt x="513" y="169"/>
                    <a:pt x="508" y="169"/>
                  </a:cubicBezTo>
                  <a:close/>
                  <a:moveTo>
                    <a:pt x="506" y="185"/>
                  </a:moveTo>
                  <a:cubicBezTo>
                    <a:pt x="499" y="186"/>
                    <a:pt x="497" y="194"/>
                    <a:pt x="501" y="197"/>
                  </a:cubicBezTo>
                  <a:cubicBezTo>
                    <a:pt x="505" y="200"/>
                    <a:pt x="511" y="197"/>
                    <a:pt x="512" y="192"/>
                  </a:cubicBezTo>
                  <a:cubicBezTo>
                    <a:pt x="513" y="189"/>
                    <a:pt x="511" y="185"/>
                    <a:pt x="506" y="185"/>
                  </a:cubicBezTo>
                  <a:close/>
                  <a:moveTo>
                    <a:pt x="499" y="2"/>
                  </a:moveTo>
                  <a:cubicBezTo>
                    <a:pt x="500" y="2"/>
                    <a:pt x="502" y="1"/>
                    <a:pt x="502" y="0"/>
                  </a:cubicBezTo>
                  <a:cubicBezTo>
                    <a:pt x="502" y="0"/>
                    <a:pt x="502" y="0"/>
                    <a:pt x="502" y="0"/>
                  </a:cubicBezTo>
                  <a:cubicBezTo>
                    <a:pt x="499" y="1"/>
                    <a:pt x="492" y="4"/>
                    <a:pt x="493" y="4"/>
                  </a:cubicBezTo>
                  <a:cubicBezTo>
                    <a:pt x="494" y="4"/>
                    <a:pt x="496" y="4"/>
                    <a:pt x="499" y="2"/>
                  </a:cubicBezTo>
                  <a:close/>
                  <a:moveTo>
                    <a:pt x="869" y="139"/>
                  </a:moveTo>
                  <a:cubicBezTo>
                    <a:pt x="866" y="140"/>
                    <a:pt x="872" y="147"/>
                    <a:pt x="877" y="150"/>
                  </a:cubicBezTo>
                  <a:cubicBezTo>
                    <a:pt x="880" y="151"/>
                    <a:pt x="881" y="150"/>
                    <a:pt x="880" y="148"/>
                  </a:cubicBezTo>
                  <a:cubicBezTo>
                    <a:pt x="880" y="148"/>
                    <a:pt x="880" y="146"/>
                    <a:pt x="879" y="145"/>
                  </a:cubicBezTo>
                  <a:cubicBezTo>
                    <a:pt x="876" y="142"/>
                    <a:pt x="872" y="138"/>
                    <a:pt x="869" y="139"/>
                  </a:cubicBezTo>
                  <a:close/>
                  <a:moveTo>
                    <a:pt x="326" y="95"/>
                  </a:moveTo>
                  <a:cubicBezTo>
                    <a:pt x="327" y="96"/>
                    <a:pt x="332" y="94"/>
                    <a:pt x="335" y="91"/>
                  </a:cubicBezTo>
                  <a:cubicBezTo>
                    <a:pt x="338" y="88"/>
                    <a:pt x="339" y="85"/>
                    <a:pt x="337" y="85"/>
                  </a:cubicBezTo>
                  <a:cubicBezTo>
                    <a:pt x="337" y="85"/>
                    <a:pt x="337" y="85"/>
                    <a:pt x="337" y="85"/>
                  </a:cubicBezTo>
                  <a:cubicBezTo>
                    <a:pt x="331" y="86"/>
                    <a:pt x="324" y="93"/>
                    <a:pt x="326" y="95"/>
                  </a:cubicBezTo>
                  <a:close/>
                  <a:moveTo>
                    <a:pt x="486" y="185"/>
                  </a:moveTo>
                  <a:cubicBezTo>
                    <a:pt x="480" y="186"/>
                    <a:pt x="477" y="194"/>
                    <a:pt x="482" y="197"/>
                  </a:cubicBezTo>
                  <a:cubicBezTo>
                    <a:pt x="485" y="200"/>
                    <a:pt x="492" y="197"/>
                    <a:pt x="493" y="192"/>
                  </a:cubicBezTo>
                  <a:cubicBezTo>
                    <a:pt x="494" y="189"/>
                    <a:pt x="492" y="185"/>
                    <a:pt x="486" y="185"/>
                  </a:cubicBezTo>
                  <a:close/>
                  <a:moveTo>
                    <a:pt x="603" y="213"/>
                  </a:moveTo>
                  <a:cubicBezTo>
                    <a:pt x="607" y="217"/>
                    <a:pt x="614" y="214"/>
                    <a:pt x="614" y="209"/>
                  </a:cubicBezTo>
                  <a:cubicBezTo>
                    <a:pt x="614" y="205"/>
                    <a:pt x="611" y="201"/>
                    <a:pt x="605" y="201"/>
                  </a:cubicBezTo>
                  <a:cubicBezTo>
                    <a:pt x="599" y="202"/>
                    <a:pt x="598" y="210"/>
                    <a:pt x="603" y="213"/>
                  </a:cubicBezTo>
                  <a:close/>
                  <a:moveTo>
                    <a:pt x="639" y="107"/>
                  </a:moveTo>
                  <a:cubicBezTo>
                    <a:pt x="643" y="109"/>
                    <a:pt x="648" y="107"/>
                    <a:pt x="647" y="103"/>
                  </a:cubicBezTo>
                  <a:cubicBezTo>
                    <a:pt x="646" y="101"/>
                    <a:pt x="643" y="97"/>
                    <a:pt x="639" y="98"/>
                  </a:cubicBezTo>
                  <a:cubicBezTo>
                    <a:pt x="635" y="98"/>
                    <a:pt x="635" y="104"/>
                    <a:pt x="639" y="107"/>
                  </a:cubicBezTo>
                  <a:close/>
                  <a:moveTo>
                    <a:pt x="601" y="196"/>
                  </a:moveTo>
                  <a:cubicBezTo>
                    <a:pt x="606" y="200"/>
                    <a:pt x="612" y="197"/>
                    <a:pt x="612" y="192"/>
                  </a:cubicBezTo>
                  <a:cubicBezTo>
                    <a:pt x="612" y="189"/>
                    <a:pt x="609" y="185"/>
                    <a:pt x="604" y="185"/>
                  </a:cubicBezTo>
                  <a:cubicBezTo>
                    <a:pt x="598" y="186"/>
                    <a:pt x="597" y="193"/>
                    <a:pt x="601" y="196"/>
                  </a:cubicBezTo>
                  <a:close/>
                  <a:moveTo>
                    <a:pt x="609" y="160"/>
                  </a:moveTo>
                  <a:cubicBezTo>
                    <a:pt x="609" y="157"/>
                    <a:pt x="606" y="153"/>
                    <a:pt x="601" y="153"/>
                  </a:cubicBezTo>
                  <a:cubicBezTo>
                    <a:pt x="595" y="154"/>
                    <a:pt x="595" y="161"/>
                    <a:pt x="599" y="164"/>
                  </a:cubicBezTo>
                  <a:cubicBezTo>
                    <a:pt x="603" y="167"/>
                    <a:pt x="609" y="165"/>
                    <a:pt x="609" y="160"/>
                  </a:cubicBezTo>
                  <a:close/>
                  <a:moveTo>
                    <a:pt x="325" y="108"/>
                  </a:moveTo>
                  <a:cubicBezTo>
                    <a:pt x="326" y="109"/>
                    <a:pt x="330" y="106"/>
                    <a:pt x="334" y="103"/>
                  </a:cubicBezTo>
                  <a:cubicBezTo>
                    <a:pt x="336" y="100"/>
                    <a:pt x="337" y="98"/>
                    <a:pt x="335" y="98"/>
                  </a:cubicBezTo>
                  <a:cubicBezTo>
                    <a:pt x="335" y="98"/>
                    <a:pt x="335" y="98"/>
                    <a:pt x="334" y="98"/>
                  </a:cubicBezTo>
                  <a:cubicBezTo>
                    <a:pt x="329" y="99"/>
                    <a:pt x="323" y="106"/>
                    <a:pt x="325" y="108"/>
                  </a:cubicBezTo>
                  <a:close/>
                  <a:moveTo>
                    <a:pt x="600" y="180"/>
                  </a:moveTo>
                  <a:cubicBezTo>
                    <a:pt x="605" y="183"/>
                    <a:pt x="611" y="181"/>
                    <a:pt x="611" y="176"/>
                  </a:cubicBezTo>
                  <a:cubicBezTo>
                    <a:pt x="611" y="173"/>
                    <a:pt x="608" y="169"/>
                    <a:pt x="603" y="169"/>
                  </a:cubicBezTo>
                  <a:cubicBezTo>
                    <a:pt x="597" y="170"/>
                    <a:pt x="596" y="177"/>
                    <a:pt x="600" y="180"/>
                  </a:cubicBezTo>
                  <a:close/>
                  <a:moveTo>
                    <a:pt x="762" y="106"/>
                  </a:moveTo>
                  <a:cubicBezTo>
                    <a:pt x="766" y="109"/>
                    <a:pt x="769" y="108"/>
                    <a:pt x="768" y="106"/>
                  </a:cubicBezTo>
                  <a:cubicBezTo>
                    <a:pt x="768" y="105"/>
                    <a:pt x="767" y="104"/>
                    <a:pt x="767" y="103"/>
                  </a:cubicBezTo>
                  <a:cubicBezTo>
                    <a:pt x="765" y="101"/>
                    <a:pt x="761" y="97"/>
                    <a:pt x="758" y="98"/>
                  </a:cubicBezTo>
                  <a:cubicBezTo>
                    <a:pt x="755" y="98"/>
                    <a:pt x="758" y="104"/>
                    <a:pt x="762" y="106"/>
                  </a:cubicBezTo>
                  <a:close/>
                  <a:moveTo>
                    <a:pt x="315" y="98"/>
                  </a:moveTo>
                  <a:cubicBezTo>
                    <a:pt x="314" y="98"/>
                    <a:pt x="314" y="98"/>
                    <a:pt x="314" y="98"/>
                  </a:cubicBezTo>
                  <a:cubicBezTo>
                    <a:pt x="309" y="99"/>
                    <a:pt x="302" y="106"/>
                    <a:pt x="304" y="108"/>
                  </a:cubicBezTo>
                  <a:cubicBezTo>
                    <a:pt x="305" y="109"/>
                    <a:pt x="309" y="106"/>
                    <a:pt x="313" y="103"/>
                  </a:cubicBezTo>
                  <a:cubicBezTo>
                    <a:pt x="316" y="100"/>
                    <a:pt x="317" y="98"/>
                    <a:pt x="315" y="98"/>
                  </a:cubicBezTo>
                  <a:close/>
                  <a:moveTo>
                    <a:pt x="325" y="98"/>
                  </a:moveTo>
                  <a:cubicBezTo>
                    <a:pt x="324" y="98"/>
                    <a:pt x="324" y="98"/>
                    <a:pt x="324" y="98"/>
                  </a:cubicBezTo>
                  <a:cubicBezTo>
                    <a:pt x="319" y="99"/>
                    <a:pt x="312" y="106"/>
                    <a:pt x="314" y="108"/>
                  </a:cubicBezTo>
                  <a:cubicBezTo>
                    <a:pt x="315" y="109"/>
                    <a:pt x="320" y="106"/>
                    <a:pt x="323" y="103"/>
                  </a:cubicBezTo>
                  <a:cubicBezTo>
                    <a:pt x="326" y="100"/>
                    <a:pt x="327" y="98"/>
                    <a:pt x="325" y="98"/>
                  </a:cubicBezTo>
                  <a:close/>
                  <a:moveTo>
                    <a:pt x="766" y="70"/>
                  </a:moveTo>
                  <a:cubicBezTo>
                    <a:pt x="765" y="69"/>
                    <a:pt x="764" y="68"/>
                    <a:pt x="763" y="67"/>
                  </a:cubicBezTo>
                  <a:cubicBezTo>
                    <a:pt x="761" y="65"/>
                    <a:pt x="757" y="62"/>
                    <a:pt x="754" y="62"/>
                  </a:cubicBezTo>
                  <a:cubicBezTo>
                    <a:pt x="752" y="63"/>
                    <a:pt x="757" y="67"/>
                    <a:pt x="761" y="70"/>
                  </a:cubicBezTo>
                  <a:cubicBezTo>
                    <a:pt x="764" y="71"/>
                    <a:pt x="766" y="72"/>
                    <a:pt x="766" y="70"/>
                  </a:cubicBezTo>
                  <a:close/>
                  <a:moveTo>
                    <a:pt x="305" y="98"/>
                  </a:moveTo>
                  <a:cubicBezTo>
                    <a:pt x="305" y="98"/>
                    <a:pt x="305" y="98"/>
                    <a:pt x="305" y="98"/>
                  </a:cubicBezTo>
                  <a:cubicBezTo>
                    <a:pt x="299" y="99"/>
                    <a:pt x="292" y="107"/>
                    <a:pt x="294" y="108"/>
                  </a:cubicBezTo>
                  <a:cubicBezTo>
                    <a:pt x="295" y="108"/>
                    <a:pt x="299" y="106"/>
                    <a:pt x="303" y="103"/>
                  </a:cubicBezTo>
                  <a:cubicBezTo>
                    <a:pt x="306" y="100"/>
                    <a:pt x="307" y="98"/>
                    <a:pt x="305" y="98"/>
                  </a:cubicBezTo>
                  <a:close/>
                  <a:moveTo>
                    <a:pt x="292" y="111"/>
                  </a:moveTo>
                  <a:cubicBezTo>
                    <a:pt x="292" y="111"/>
                    <a:pt x="292" y="111"/>
                    <a:pt x="292" y="111"/>
                  </a:cubicBezTo>
                  <a:cubicBezTo>
                    <a:pt x="287" y="112"/>
                    <a:pt x="279" y="120"/>
                    <a:pt x="281" y="121"/>
                  </a:cubicBezTo>
                  <a:cubicBezTo>
                    <a:pt x="282" y="122"/>
                    <a:pt x="287" y="120"/>
                    <a:pt x="290" y="117"/>
                  </a:cubicBezTo>
                  <a:cubicBezTo>
                    <a:pt x="293" y="113"/>
                    <a:pt x="294" y="111"/>
                    <a:pt x="292" y="111"/>
                  </a:cubicBezTo>
                  <a:close/>
                  <a:moveTo>
                    <a:pt x="291" y="121"/>
                  </a:moveTo>
                  <a:cubicBezTo>
                    <a:pt x="293" y="122"/>
                    <a:pt x="297" y="120"/>
                    <a:pt x="300" y="117"/>
                  </a:cubicBezTo>
                  <a:cubicBezTo>
                    <a:pt x="303" y="113"/>
                    <a:pt x="304" y="111"/>
                    <a:pt x="302" y="111"/>
                  </a:cubicBezTo>
                  <a:cubicBezTo>
                    <a:pt x="302" y="111"/>
                    <a:pt x="302" y="111"/>
                    <a:pt x="302" y="111"/>
                  </a:cubicBezTo>
                  <a:cubicBezTo>
                    <a:pt x="296" y="112"/>
                    <a:pt x="289" y="120"/>
                    <a:pt x="291" y="121"/>
                  </a:cubicBezTo>
                  <a:close/>
                  <a:moveTo>
                    <a:pt x="443" y="117"/>
                  </a:moveTo>
                  <a:cubicBezTo>
                    <a:pt x="444" y="114"/>
                    <a:pt x="444" y="110"/>
                    <a:pt x="439" y="111"/>
                  </a:cubicBezTo>
                  <a:cubicBezTo>
                    <a:pt x="434" y="112"/>
                    <a:pt x="430" y="118"/>
                    <a:pt x="433" y="121"/>
                  </a:cubicBezTo>
                  <a:cubicBezTo>
                    <a:pt x="436" y="123"/>
                    <a:pt x="441" y="120"/>
                    <a:pt x="443" y="117"/>
                  </a:cubicBezTo>
                  <a:close/>
                  <a:moveTo>
                    <a:pt x="573" y="226"/>
                  </a:moveTo>
                  <a:cubicBezTo>
                    <a:pt x="574" y="223"/>
                    <a:pt x="571" y="218"/>
                    <a:pt x="565" y="218"/>
                  </a:cubicBezTo>
                  <a:cubicBezTo>
                    <a:pt x="558" y="219"/>
                    <a:pt x="557" y="227"/>
                    <a:pt x="561" y="231"/>
                  </a:cubicBezTo>
                  <a:cubicBezTo>
                    <a:pt x="566" y="234"/>
                    <a:pt x="573" y="231"/>
                    <a:pt x="573" y="226"/>
                  </a:cubicBezTo>
                  <a:close/>
                  <a:moveTo>
                    <a:pt x="573" y="209"/>
                  </a:moveTo>
                  <a:cubicBezTo>
                    <a:pt x="573" y="206"/>
                    <a:pt x="571" y="201"/>
                    <a:pt x="565" y="201"/>
                  </a:cubicBezTo>
                  <a:cubicBezTo>
                    <a:pt x="558" y="202"/>
                    <a:pt x="557" y="210"/>
                    <a:pt x="561" y="213"/>
                  </a:cubicBezTo>
                  <a:cubicBezTo>
                    <a:pt x="566" y="217"/>
                    <a:pt x="572" y="214"/>
                    <a:pt x="573" y="209"/>
                  </a:cubicBezTo>
                  <a:close/>
                  <a:moveTo>
                    <a:pt x="572" y="145"/>
                  </a:moveTo>
                  <a:cubicBezTo>
                    <a:pt x="572" y="142"/>
                    <a:pt x="570" y="138"/>
                    <a:pt x="565" y="139"/>
                  </a:cubicBezTo>
                  <a:cubicBezTo>
                    <a:pt x="559" y="139"/>
                    <a:pt x="557" y="146"/>
                    <a:pt x="561" y="149"/>
                  </a:cubicBezTo>
                  <a:cubicBezTo>
                    <a:pt x="565" y="152"/>
                    <a:pt x="571" y="150"/>
                    <a:pt x="572" y="145"/>
                  </a:cubicBezTo>
                  <a:close/>
                  <a:moveTo>
                    <a:pt x="574" y="262"/>
                  </a:moveTo>
                  <a:cubicBezTo>
                    <a:pt x="574" y="259"/>
                    <a:pt x="572" y="254"/>
                    <a:pt x="565" y="254"/>
                  </a:cubicBezTo>
                  <a:cubicBezTo>
                    <a:pt x="558" y="255"/>
                    <a:pt x="556" y="263"/>
                    <a:pt x="561" y="267"/>
                  </a:cubicBezTo>
                  <a:cubicBezTo>
                    <a:pt x="566" y="271"/>
                    <a:pt x="573" y="268"/>
                    <a:pt x="574" y="262"/>
                  </a:cubicBezTo>
                  <a:close/>
                  <a:moveTo>
                    <a:pt x="574" y="281"/>
                  </a:moveTo>
                  <a:cubicBezTo>
                    <a:pt x="574" y="277"/>
                    <a:pt x="572" y="272"/>
                    <a:pt x="565" y="272"/>
                  </a:cubicBezTo>
                  <a:cubicBezTo>
                    <a:pt x="558" y="273"/>
                    <a:pt x="556" y="282"/>
                    <a:pt x="561" y="286"/>
                  </a:cubicBezTo>
                  <a:cubicBezTo>
                    <a:pt x="566" y="289"/>
                    <a:pt x="574" y="286"/>
                    <a:pt x="574" y="281"/>
                  </a:cubicBezTo>
                  <a:close/>
                  <a:moveTo>
                    <a:pt x="854" y="165"/>
                  </a:moveTo>
                  <a:cubicBezTo>
                    <a:pt x="857" y="166"/>
                    <a:pt x="859" y="166"/>
                    <a:pt x="859" y="163"/>
                  </a:cubicBezTo>
                  <a:cubicBezTo>
                    <a:pt x="859" y="162"/>
                    <a:pt x="858" y="161"/>
                    <a:pt x="857" y="160"/>
                  </a:cubicBezTo>
                  <a:cubicBezTo>
                    <a:pt x="856" y="157"/>
                    <a:pt x="851" y="153"/>
                    <a:pt x="848" y="153"/>
                  </a:cubicBezTo>
                  <a:cubicBezTo>
                    <a:pt x="845" y="154"/>
                    <a:pt x="849" y="162"/>
                    <a:pt x="854" y="165"/>
                  </a:cubicBezTo>
                  <a:close/>
                  <a:moveTo>
                    <a:pt x="574" y="244"/>
                  </a:moveTo>
                  <a:cubicBezTo>
                    <a:pt x="574" y="240"/>
                    <a:pt x="571" y="236"/>
                    <a:pt x="565" y="236"/>
                  </a:cubicBezTo>
                  <a:cubicBezTo>
                    <a:pt x="558" y="237"/>
                    <a:pt x="556" y="245"/>
                    <a:pt x="561" y="248"/>
                  </a:cubicBezTo>
                  <a:cubicBezTo>
                    <a:pt x="566" y="252"/>
                    <a:pt x="573" y="249"/>
                    <a:pt x="574" y="244"/>
                  </a:cubicBezTo>
                  <a:close/>
                  <a:moveTo>
                    <a:pt x="624" y="107"/>
                  </a:moveTo>
                  <a:cubicBezTo>
                    <a:pt x="628" y="109"/>
                    <a:pt x="632" y="107"/>
                    <a:pt x="632" y="103"/>
                  </a:cubicBezTo>
                  <a:cubicBezTo>
                    <a:pt x="631" y="101"/>
                    <a:pt x="629" y="97"/>
                    <a:pt x="625" y="98"/>
                  </a:cubicBezTo>
                  <a:cubicBezTo>
                    <a:pt x="620" y="98"/>
                    <a:pt x="620" y="104"/>
                    <a:pt x="624" y="107"/>
                  </a:cubicBezTo>
                  <a:close/>
                  <a:moveTo>
                    <a:pt x="635" y="94"/>
                  </a:moveTo>
                  <a:cubicBezTo>
                    <a:pt x="639" y="96"/>
                    <a:pt x="643" y="95"/>
                    <a:pt x="642" y="91"/>
                  </a:cubicBezTo>
                  <a:cubicBezTo>
                    <a:pt x="642" y="91"/>
                    <a:pt x="642" y="91"/>
                    <a:pt x="642" y="91"/>
                  </a:cubicBezTo>
                  <a:cubicBezTo>
                    <a:pt x="642" y="88"/>
                    <a:pt x="639" y="85"/>
                    <a:pt x="635" y="85"/>
                  </a:cubicBezTo>
                  <a:cubicBezTo>
                    <a:pt x="631" y="86"/>
                    <a:pt x="632" y="91"/>
                    <a:pt x="635" y="94"/>
                  </a:cubicBezTo>
                  <a:close/>
                  <a:moveTo>
                    <a:pt x="613" y="134"/>
                  </a:moveTo>
                  <a:cubicBezTo>
                    <a:pt x="617" y="137"/>
                    <a:pt x="622" y="135"/>
                    <a:pt x="622" y="130"/>
                  </a:cubicBezTo>
                  <a:cubicBezTo>
                    <a:pt x="622" y="128"/>
                    <a:pt x="619" y="124"/>
                    <a:pt x="615" y="124"/>
                  </a:cubicBezTo>
                  <a:cubicBezTo>
                    <a:pt x="609" y="125"/>
                    <a:pt x="609" y="131"/>
                    <a:pt x="613" y="134"/>
                  </a:cubicBezTo>
                  <a:close/>
                  <a:moveTo>
                    <a:pt x="596" y="134"/>
                  </a:moveTo>
                  <a:cubicBezTo>
                    <a:pt x="600" y="137"/>
                    <a:pt x="605" y="135"/>
                    <a:pt x="605" y="130"/>
                  </a:cubicBezTo>
                  <a:cubicBezTo>
                    <a:pt x="605" y="128"/>
                    <a:pt x="603" y="124"/>
                    <a:pt x="598" y="124"/>
                  </a:cubicBezTo>
                  <a:cubicBezTo>
                    <a:pt x="593" y="125"/>
                    <a:pt x="592" y="131"/>
                    <a:pt x="596" y="134"/>
                  </a:cubicBezTo>
                  <a:close/>
                  <a:moveTo>
                    <a:pt x="600" y="139"/>
                  </a:moveTo>
                  <a:cubicBezTo>
                    <a:pt x="594" y="139"/>
                    <a:pt x="593" y="146"/>
                    <a:pt x="597" y="149"/>
                  </a:cubicBezTo>
                  <a:cubicBezTo>
                    <a:pt x="602" y="152"/>
                    <a:pt x="607" y="150"/>
                    <a:pt x="607" y="145"/>
                  </a:cubicBezTo>
                  <a:cubicBezTo>
                    <a:pt x="607" y="142"/>
                    <a:pt x="604" y="138"/>
                    <a:pt x="600" y="139"/>
                  </a:cubicBezTo>
                  <a:close/>
                  <a:moveTo>
                    <a:pt x="377" y="79"/>
                  </a:moveTo>
                  <a:cubicBezTo>
                    <a:pt x="380" y="76"/>
                    <a:pt x="381" y="73"/>
                    <a:pt x="379" y="73"/>
                  </a:cubicBezTo>
                  <a:cubicBezTo>
                    <a:pt x="379" y="73"/>
                    <a:pt x="378" y="73"/>
                    <a:pt x="378" y="73"/>
                  </a:cubicBezTo>
                  <a:cubicBezTo>
                    <a:pt x="373" y="74"/>
                    <a:pt x="367" y="81"/>
                    <a:pt x="369" y="83"/>
                  </a:cubicBezTo>
                  <a:cubicBezTo>
                    <a:pt x="370" y="83"/>
                    <a:pt x="375" y="81"/>
                    <a:pt x="377" y="79"/>
                  </a:cubicBezTo>
                  <a:close/>
                  <a:moveTo>
                    <a:pt x="469" y="11"/>
                  </a:moveTo>
                  <a:cubicBezTo>
                    <a:pt x="465" y="12"/>
                    <a:pt x="458" y="15"/>
                    <a:pt x="459" y="16"/>
                  </a:cubicBezTo>
                  <a:cubicBezTo>
                    <a:pt x="459" y="17"/>
                    <a:pt x="462" y="16"/>
                    <a:pt x="466" y="14"/>
                  </a:cubicBezTo>
                  <a:cubicBezTo>
                    <a:pt x="468" y="13"/>
                    <a:pt x="470" y="12"/>
                    <a:pt x="469" y="11"/>
                  </a:cubicBezTo>
                  <a:cubicBezTo>
                    <a:pt x="469" y="11"/>
                    <a:pt x="469" y="11"/>
                    <a:pt x="469" y="11"/>
                  </a:cubicBezTo>
                  <a:close/>
                  <a:moveTo>
                    <a:pt x="510" y="226"/>
                  </a:moveTo>
                  <a:cubicBezTo>
                    <a:pt x="510" y="223"/>
                    <a:pt x="508" y="218"/>
                    <a:pt x="502" y="218"/>
                  </a:cubicBezTo>
                  <a:cubicBezTo>
                    <a:pt x="495" y="219"/>
                    <a:pt x="493" y="228"/>
                    <a:pt x="498" y="231"/>
                  </a:cubicBezTo>
                  <a:cubicBezTo>
                    <a:pt x="502" y="234"/>
                    <a:pt x="509" y="231"/>
                    <a:pt x="510" y="226"/>
                  </a:cubicBezTo>
                  <a:close/>
                  <a:moveTo>
                    <a:pt x="838" y="249"/>
                  </a:moveTo>
                  <a:cubicBezTo>
                    <a:pt x="843" y="252"/>
                    <a:pt x="847" y="249"/>
                    <a:pt x="846" y="244"/>
                  </a:cubicBezTo>
                  <a:cubicBezTo>
                    <a:pt x="846" y="244"/>
                    <a:pt x="845" y="244"/>
                    <a:pt x="845" y="244"/>
                  </a:cubicBezTo>
                  <a:cubicBezTo>
                    <a:pt x="844" y="240"/>
                    <a:pt x="840" y="236"/>
                    <a:pt x="836" y="236"/>
                  </a:cubicBezTo>
                  <a:cubicBezTo>
                    <a:pt x="831" y="237"/>
                    <a:pt x="833" y="245"/>
                    <a:pt x="838" y="249"/>
                  </a:cubicBezTo>
                  <a:close/>
                  <a:moveTo>
                    <a:pt x="854" y="227"/>
                  </a:moveTo>
                  <a:cubicBezTo>
                    <a:pt x="854" y="227"/>
                    <a:pt x="854" y="226"/>
                    <a:pt x="854" y="226"/>
                  </a:cubicBezTo>
                  <a:cubicBezTo>
                    <a:pt x="853" y="223"/>
                    <a:pt x="849" y="218"/>
                    <a:pt x="844" y="218"/>
                  </a:cubicBezTo>
                  <a:cubicBezTo>
                    <a:pt x="840" y="219"/>
                    <a:pt x="842" y="228"/>
                    <a:pt x="848" y="231"/>
                  </a:cubicBezTo>
                  <a:cubicBezTo>
                    <a:pt x="852" y="234"/>
                    <a:pt x="855" y="232"/>
                    <a:pt x="854" y="227"/>
                  </a:cubicBezTo>
                  <a:close/>
                  <a:moveTo>
                    <a:pt x="826" y="254"/>
                  </a:moveTo>
                  <a:cubicBezTo>
                    <a:pt x="820" y="255"/>
                    <a:pt x="822" y="264"/>
                    <a:pt x="828" y="267"/>
                  </a:cubicBezTo>
                  <a:cubicBezTo>
                    <a:pt x="832" y="270"/>
                    <a:pt x="837" y="267"/>
                    <a:pt x="835" y="262"/>
                  </a:cubicBezTo>
                  <a:cubicBezTo>
                    <a:pt x="834" y="258"/>
                    <a:pt x="831" y="254"/>
                    <a:pt x="826" y="254"/>
                  </a:cubicBezTo>
                  <a:close/>
                  <a:moveTo>
                    <a:pt x="499" y="254"/>
                  </a:moveTo>
                  <a:cubicBezTo>
                    <a:pt x="491" y="255"/>
                    <a:pt x="489" y="264"/>
                    <a:pt x="495" y="267"/>
                  </a:cubicBezTo>
                  <a:cubicBezTo>
                    <a:pt x="499" y="270"/>
                    <a:pt x="506" y="267"/>
                    <a:pt x="507" y="262"/>
                  </a:cubicBezTo>
                  <a:cubicBezTo>
                    <a:pt x="507" y="258"/>
                    <a:pt x="505" y="254"/>
                    <a:pt x="499" y="254"/>
                  </a:cubicBezTo>
                  <a:close/>
                  <a:moveTo>
                    <a:pt x="859" y="139"/>
                  </a:moveTo>
                  <a:cubicBezTo>
                    <a:pt x="856" y="140"/>
                    <a:pt x="862" y="147"/>
                    <a:pt x="867" y="150"/>
                  </a:cubicBezTo>
                  <a:cubicBezTo>
                    <a:pt x="869" y="151"/>
                    <a:pt x="871" y="150"/>
                    <a:pt x="870" y="148"/>
                  </a:cubicBezTo>
                  <a:cubicBezTo>
                    <a:pt x="870" y="147"/>
                    <a:pt x="869" y="146"/>
                    <a:pt x="868" y="145"/>
                  </a:cubicBezTo>
                  <a:cubicBezTo>
                    <a:pt x="866" y="142"/>
                    <a:pt x="862" y="138"/>
                    <a:pt x="859" y="139"/>
                  </a:cubicBezTo>
                  <a:close/>
                  <a:moveTo>
                    <a:pt x="866" y="194"/>
                  </a:moveTo>
                  <a:cubicBezTo>
                    <a:pt x="866" y="193"/>
                    <a:pt x="865" y="193"/>
                    <a:pt x="865" y="192"/>
                  </a:cubicBezTo>
                  <a:cubicBezTo>
                    <a:pt x="864" y="189"/>
                    <a:pt x="859" y="185"/>
                    <a:pt x="856" y="185"/>
                  </a:cubicBezTo>
                  <a:cubicBezTo>
                    <a:pt x="852" y="186"/>
                    <a:pt x="855" y="194"/>
                    <a:pt x="860" y="197"/>
                  </a:cubicBezTo>
                  <a:cubicBezTo>
                    <a:pt x="864" y="199"/>
                    <a:pt x="867" y="198"/>
                    <a:pt x="866" y="194"/>
                  </a:cubicBezTo>
                  <a:close/>
                  <a:moveTo>
                    <a:pt x="870" y="163"/>
                  </a:moveTo>
                  <a:cubicBezTo>
                    <a:pt x="870" y="162"/>
                    <a:pt x="870" y="161"/>
                    <a:pt x="869" y="160"/>
                  </a:cubicBezTo>
                  <a:cubicBezTo>
                    <a:pt x="867" y="157"/>
                    <a:pt x="863" y="153"/>
                    <a:pt x="860" y="153"/>
                  </a:cubicBezTo>
                  <a:cubicBezTo>
                    <a:pt x="857" y="154"/>
                    <a:pt x="861" y="162"/>
                    <a:pt x="866" y="165"/>
                  </a:cubicBezTo>
                  <a:cubicBezTo>
                    <a:pt x="869" y="166"/>
                    <a:pt x="871" y="166"/>
                    <a:pt x="870" y="163"/>
                  </a:cubicBezTo>
                  <a:close/>
                  <a:moveTo>
                    <a:pt x="516" y="160"/>
                  </a:moveTo>
                  <a:cubicBezTo>
                    <a:pt x="516" y="157"/>
                    <a:pt x="515" y="153"/>
                    <a:pt x="509" y="153"/>
                  </a:cubicBezTo>
                  <a:cubicBezTo>
                    <a:pt x="503" y="154"/>
                    <a:pt x="501" y="162"/>
                    <a:pt x="505" y="165"/>
                  </a:cubicBezTo>
                  <a:cubicBezTo>
                    <a:pt x="509" y="167"/>
                    <a:pt x="515" y="165"/>
                    <a:pt x="516" y="160"/>
                  </a:cubicBezTo>
                  <a:close/>
                  <a:moveTo>
                    <a:pt x="525" y="149"/>
                  </a:moveTo>
                  <a:cubicBezTo>
                    <a:pt x="529" y="152"/>
                    <a:pt x="534" y="149"/>
                    <a:pt x="535" y="145"/>
                  </a:cubicBezTo>
                  <a:cubicBezTo>
                    <a:pt x="536" y="142"/>
                    <a:pt x="534" y="138"/>
                    <a:pt x="529" y="139"/>
                  </a:cubicBezTo>
                  <a:cubicBezTo>
                    <a:pt x="523" y="140"/>
                    <a:pt x="521" y="146"/>
                    <a:pt x="525" y="149"/>
                  </a:cubicBezTo>
                  <a:close/>
                  <a:moveTo>
                    <a:pt x="532" y="192"/>
                  </a:moveTo>
                  <a:cubicBezTo>
                    <a:pt x="533" y="189"/>
                    <a:pt x="531" y="185"/>
                    <a:pt x="525" y="185"/>
                  </a:cubicBezTo>
                  <a:cubicBezTo>
                    <a:pt x="519" y="186"/>
                    <a:pt x="517" y="193"/>
                    <a:pt x="521" y="196"/>
                  </a:cubicBezTo>
                  <a:cubicBezTo>
                    <a:pt x="525" y="200"/>
                    <a:pt x="531" y="197"/>
                    <a:pt x="532" y="192"/>
                  </a:cubicBezTo>
                  <a:close/>
                  <a:moveTo>
                    <a:pt x="848" y="139"/>
                  </a:moveTo>
                  <a:cubicBezTo>
                    <a:pt x="845" y="140"/>
                    <a:pt x="850" y="146"/>
                    <a:pt x="855" y="149"/>
                  </a:cubicBezTo>
                  <a:cubicBezTo>
                    <a:pt x="858" y="151"/>
                    <a:pt x="860" y="150"/>
                    <a:pt x="859" y="148"/>
                  </a:cubicBezTo>
                  <a:cubicBezTo>
                    <a:pt x="859" y="148"/>
                    <a:pt x="859" y="146"/>
                    <a:pt x="858" y="145"/>
                  </a:cubicBezTo>
                  <a:cubicBezTo>
                    <a:pt x="856" y="142"/>
                    <a:pt x="851" y="138"/>
                    <a:pt x="848" y="139"/>
                  </a:cubicBezTo>
                  <a:close/>
                  <a:moveTo>
                    <a:pt x="869" y="178"/>
                  </a:moveTo>
                  <a:cubicBezTo>
                    <a:pt x="869" y="177"/>
                    <a:pt x="869" y="177"/>
                    <a:pt x="868" y="176"/>
                  </a:cubicBezTo>
                  <a:cubicBezTo>
                    <a:pt x="866" y="173"/>
                    <a:pt x="862" y="169"/>
                    <a:pt x="859" y="169"/>
                  </a:cubicBezTo>
                  <a:cubicBezTo>
                    <a:pt x="855" y="170"/>
                    <a:pt x="859" y="177"/>
                    <a:pt x="864" y="180"/>
                  </a:cubicBezTo>
                  <a:cubicBezTo>
                    <a:pt x="868" y="182"/>
                    <a:pt x="870" y="181"/>
                    <a:pt x="869" y="178"/>
                  </a:cubicBezTo>
                  <a:close/>
                  <a:moveTo>
                    <a:pt x="611" y="120"/>
                  </a:moveTo>
                  <a:cubicBezTo>
                    <a:pt x="615" y="123"/>
                    <a:pt x="620" y="121"/>
                    <a:pt x="619" y="117"/>
                  </a:cubicBezTo>
                  <a:cubicBezTo>
                    <a:pt x="619" y="114"/>
                    <a:pt x="617" y="110"/>
                    <a:pt x="612" y="111"/>
                  </a:cubicBezTo>
                  <a:cubicBezTo>
                    <a:pt x="607" y="111"/>
                    <a:pt x="607" y="117"/>
                    <a:pt x="611" y="120"/>
                  </a:cubicBezTo>
                  <a:close/>
                  <a:moveTo>
                    <a:pt x="391" y="33"/>
                  </a:moveTo>
                  <a:cubicBezTo>
                    <a:pt x="387" y="34"/>
                    <a:pt x="378" y="40"/>
                    <a:pt x="379" y="40"/>
                  </a:cubicBezTo>
                  <a:cubicBezTo>
                    <a:pt x="379" y="41"/>
                    <a:pt x="383" y="39"/>
                    <a:pt x="387" y="37"/>
                  </a:cubicBezTo>
                  <a:cubicBezTo>
                    <a:pt x="390" y="36"/>
                    <a:pt x="392" y="34"/>
                    <a:pt x="391" y="33"/>
                  </a:cubicBezTo>
                  <a:cubicBezTo>
                    <a:pt x="391" y="33"/>
                    <a:pt x="391" y="33"/>
                    <a:pt x="391" y="33"/>
                  </a:cubicBezTo>
                  <a:close/>
                  <a:moveTo>
                    <a:pt x="364" y="50"/>
                  </a:moveTo>
                  <a:cubicBezTo>
                    <a:pt x="364" y="50"/>
                    <a:pt x="368" y="49"/>
                    <a:pt x="372" y="47"/>
                  </a:cubicBezTo>
                  <a:cubicBezTo>
                    <a:pt x="375" y="45"/>
                    <a:pt x="377" y="43"/>
                    <a:pt x="376" y="42"/>
                  </a:cubicBezTo>
                  <a:cubicBezTo>
                    <a:pt x="376" y="42"/>
                    <a:pt x="376" y="42"/>
                    <a:pt x="376" y="42"/>
                  </a:cubicBezTo>
                  <a:cubicBezTo>
                    <a:pt x="371" y="43"/>
                    <a:pt x="362" y="49"/>
                    <a:pt x="364" y="50"/>
                  </a:cubicBezTo>
                  <a:close/>
                  <a:moveTo>
                    <a:pt x="397" y="33"/>
                  </a:moveTo>
                  <a:cubicBezTo>
                    <a:pt x="393" y="34"/>
                    <a:pt x="384" y="40"/>
                    <a:pt x="385" y="40"/>
                  </a:cubicBezTo>
                  <a:cubicBezTo>
                    <a:pt x="386" y="41"/>
                    <a:pt x="390" y="39"/>
                    <a:pt x="393" y="37"/>
                  </a:cubicBezTo>
                  <a:cubicBezTo>
                    <a:pt x="396" y="36"/>
                    <a:pt x="399" y="34"/>
                    <a:pt x="398" y="33"/>
                  </a:cubicBezTo>
                  <a:cubicBezTo>
                    <a:pt x="397" y="33"/>
                    <a:pt x="397" y="33"/>
                    <a:pt x="397" y="33"/>
                  </a:cubicBezTo>
                  <a:close/>
                  <a:moveTo>
                    <a:pt x="673" y="286"/>
                  </a:moveTo>
                  <a:cubicBezTo>
                    <a:pt x="678" y="289"/>
                    <a:pt x="685" y="286"/>
                    <a:pt x="685" y="281"/>
                  </a:cubicBezTo>
                  <a:cubicBezTo>
                    <a:pt x="684" y="277"/>
                    <a:pt x="681" y="272"/>
                    <a:pt x="675" y="272"/>
                  </a:cubicBezTo>
                  <a:cubicBezTo>
                    <a:pt x="668" y="273"/>
                    <a:pt x="668" y="282"/>
                    <a:pt x="673" y="286"/>
                  </a:cubicBezTo>
                  <a:close/>
                  <a:moveTo>
                    <a:pt x="404" y="33"/>
                  </a:moveTo>
                  <a:cubicBezTo>
                    <a:pt x="399" y="34"/>
                    <a:pt x="391" y="40"/>
                    <a:pt x="392" y="40"/>
                  </a:cubicBezTo>
                  <a:cubicBezTo>
                    <a:pt x="393" y="41"/>
                    <a:pt x="397" y="39"/>
                    <a:pt x="400" y="37"/>
                  </a:cubicBezTo>
                  <a:cubicBezTo>
                    <a:pt x="403" y="36"/>
                    <a:pt x="405" y="34"/>
                    <a:pt x="404" y="33"/>
                  </a:cubicBezTo>
                  <a:cubicBezTo>
                    <a:pt x="404" y="33"/>
                    <a:pt x="404" y="33"/>
                    <a:pt x="404" y="33"/>
                  </a:cubicBezTo>
                  <a:close/>
                  <a:moveTo>
                    <a:pt x="475" y="11"/>
                  </a:moveTo>
                  <a:cubicBezTo>
                    <a:pt x="475" y="11"/>
                    <a:pt x="474" y="11"/>
                    <a:pt x="474" y="11"/>
                  </a:cubicBezTo>
                  <a:cubicBezTo>
                    <a:pt x="471" y="12"/>
                    <a:pt x="464" y="15"/>
                    <a:pt x="465" y="16"/>
                  </a:cubicBezTo>
                  <a:cubicBezTo>
                    <a:pt x="466" y="17"/>
                    <a:pt x="469" y="16"/>
                    <a:pt x="472" y="14"/>
                  </a:cubicBezTo>
                  <a:cubicBezTo>
                    <a:pt x="474" y="13"/>
                    <a:pt x="476" y="11"/>
                    <a:pt x="475" y="11"/>
                  </a:cubicBezTo>
                  <a:close/>
                  <a:moveTo>
                    <a:pt x="438" y="47"/>
                  </a:moveTo>
                  <a:cubicBezTo>
                    <a:pt x="441" y="44"/>
                    <a:pt x="441" y="42"/>
                    <a:pt x="439" y="42"/>
                  </a:cubicBezTo>
                  <a:cubicBezTo>
                    <a:pt x="439" y="42"/>
                    <a:pt x="439" y="42"/>
                    <a:pt x="439" y="42"/>
                  </a:cubicBezTo>
                  <a:cubicBezTo>
                    <a:pt x="434" y="43"/>
                    <a:pt x="429" y="49"/>
                    <a:pt x="431" y="50"/>
                  </a:cubicBezTo>
                  <a:cubicBezTo>
                    <a:pt x="432" y="51"/>
                    <a:pt x="436" y="49"/>
                    <a:pt x="438" y="47"/>
                  </a:cubicBezTo>
                  <a:close/>
                  <a:moveTo>
                    <a:pt x="336" y="108"/>
                  </a:moveTo>
                  <a:cubicBezTo>
                    <a:pt x="338" y="109"/>
                    <a:pt x="342" y="106"/>
                    <a:pt x="345" y="103"/>
                  </a:cubicBezTo>
                  <a:cubicBezTo>
                    <a:pt x="348" y="100"/>
                    <a:pt x="348" y="98"/>
                    <a:pt x="346" y="98"/>
                  </a:cubicBezTo>
                  <a:cubicBezTo>
                    <a:pt x="346" y="98"/>
                    <a:pt x="345" y="98"/>
                    <a:pt x="345" y="98"/>
                  </a:cubicBezTo>
                  <a:cubicBezTo>
                    <a:pt x="340" y="99"/>
                    <a:pt x="334" y="106"/>
                    <a:pt x="336" y="108"/>
                  </a:cubicBezTo>
                  <a:close/>
                  <a:moveTo>
                    <a:pt x="339" y="83"/>
                  </a:moveTo>
                  <a:cubicBezTo>
                    <a:pt x="340" y="83"/>
                    <a:pt x="344" y="81"/>
                    <a:pt x="347" y="79"/>
                  </a:cubicBezTo>
                  <a:cubicBezTo>
                    <a:pt x="350" y="76"/>
                    <a:pt x="352" y="73"/>
                    <a:pt x="350" y="73"/>
                  </a:cubicBezTo>
                  <a:cubicBezTo>
                    <a:pt x="350" y="73"/>
                    <a:pt x="349" y="73"/>
                    <a:pt x="349" y="73"/>
                  </a:cubicBezTo>
                  <a:cubicBezTo>
                    <a:pt x="345" y="74"/>
                    <a:pt x="337" y="81"/>
                    <a:pt x="339" y="83"/>
                  </a:cubicBezTo>
                  <a:close/>
                  <a:moveTo>
                    <a:pt x="336" y="95"/>
                  </a:moveTo>
                  <a:cubicBezTo>
                    <a:pt x="338" y="96"/>
                    <a:pt x="342" y="94"/>
                    <a:pt x="345" y="91"/>
                  </a:cubicBezTo>
                  <a:cubicBezTo>
                    <a:pt x="348" y="88"/>
                    <a:pt x="349" y="85"/>
                    <a:pt x="347" y="85"/>
                  </a:cubicBezTo>
                  <a:cubicBezTo>
                    <a:pt x="347" y="85"/>
                    <a:pt x="346" y="85"/>
                    <a:pt x="346" y="85"/>
                  </a:cubicBezTo>
                  <a:cubicBezTo>
                    <a:pt x="341" y="86"/>
                    <a:pt x="334" y="93"/>
                    <a:pt x="336" y="95"/>
                  </a:cubicBezTo>
                  <a:close/>
                  <a:moveTo>
                    <a:pt x="343" y="71"/>
                  </a:moveTo>
                  <a:cubicBezTo>
                    <a:pt x="344" y="72"/>
                    <a:pt x="348" y="70"/>
                    <a:pt x="351" y="67"/>
                  </a:cubicBezTo>
                  <a:cubicBezTo>
                    <a:pt x="354" y="65"/>
                    <a:pt x="356" y="63"/>
                    <a:pt x="355" y="62"/>
                  </a:cubicBezTo>
                  <a:cubicBezTo>
                    <a:pt x="355" y="62"/>
                    <a:pt x="354" y="62"/>
                    <a:pt x="354" y="62"/>
                  </a:cubicBezTo>
                  <a:cubicBezTo>
                    <a:pt x="349" y="63"/>
                    <a:pt x="341" y="70"/>
                    <a:pt x="343" y="71"/>
                  </a:cubicBezTo>
                  <a:close/>
                  <a:moveTo>
                    <a:pt x="407" y="40"/>
                  </a:moveTo>
                  <a:cubicBezTo>
                    <a:pt x="408" y="41"/>
                    <a:pt x="412" y="40"/>
                    <a:pt x="415" y="37"/>
                  </a:cubicBezTo>
                  <a:cubicBezTo>
                    <a:pt x="418" y="35"/>
                    <a:pt x="419" y="34"/>
                    <a:pt x="418" y="33"/>
                  </a:cubicBezTo>
                  <a:cubicBezTo>
                    <a:pt x="418" y="33"/>
                    <a:pt x="418" y="33"/>
                    <a:pt x="418" y="33"/>
                  </a:cubicBezTo>
                  <a:cubicBezTo>
                    <a:pt x="414" y="34"/>
                    <a:pt x="406" y="39"/>
                    <a:pt x="407" y="40"/>
                  </a:cubicBezTo>
                  <a:close/>
                  <a:moveTo>
                    <a:pt x="411" y="33"/>
                  </a:moveTo>
                  <a:cubicBezTo>
                    <a:pt x="411" y="33"/>
                    <a:pt x="411" y="33"/>
                    <a:pt x="411" y="33"/>
                  </a:cubicBezTo>
                  <a:cubicBezTo>
                    <a:pt x="406" y="34"/>
                    <a:pt x="398" y="40"/>
                    <a:pt x="400" y="40"/>
                  </a:cubicBezTo>
                  <a:cubicBezTo>
                    <a:pt x="401" y="41"/>
                    <a:pt x="404" y="39"/>
                    <a:pt x="408" y="37"/>
                  </a:cubicBezTo>
                  <a:cubicBezTo>
                    <a:pt x="411" y="35"/>
                    <a:pt x="412" y="34"/>
                    <a:pt x="411" y="33"/>
                  </a:cubicBezTo>
                  <a:close/>
                  <a:moveTo>
                    <a:pt x="420" y="62"/>
                  </a:moveTo>
                  <a:cubicBezTo>
                    <a:pt x="420" y="62"/>
                    <a:pt x="420" y="62"/>
                    <a:pt x="420" y="62"/>
                  </a:cubicBezTo>
                  <a:cubicBezTo>
                    <a:pt x="415" y="63"/>
                    <a:pt x="410" y="69"/>
                    <a:pt x="412" y="71"/>
                  </a:cubicBezTo>
                  <a:cubicBezTo>
                    <a:pt x="413" y="72"/>
                    <a:pt x="417" y="70"/>
                    <a:pt x="420" y="67"/>
                  </a:cubicBezTo>
                  <a:cubicBezTo>
                    <a:pt x="422" y="65"/>
                    <a:pt x="422" y="62"/>
                    <a:pt x="420" y="62"/>
                  </a:cubicBezTo>
                  <a:close/>
                  <a:moveTo>
                    <a:pt x="693" y="254"/>
                  </a:moveTo>
                  <a:cubicBezTo>
                    <a:pt x="687" y="255"/>
                    <a:pt x="687" y="263"/>
                    <a:pt x="692" y="267"/>
                  </a:cubicBezTo>
                  <a:cubicBezTo>
                    <a:pt x="697" y="271"/>
                    <a:pt x="703" y="268"/>
                    <a:pt x="703" y="262"/>
                  </a:cubicBezTo>
                  <a:cubicBezTo>
                    <a:pt x="702" y="258"/>
                    <a:pt x="699" y="254"/>
                    <a:pt x="693" y="254"/>
                  </a:cubicBezTo>
                  <a:close/>
                  <a:moveTo>
                    <a:pt x="687" y="218"/>
                  </a:moveTo>
                  <a:cubicBezTo>
                    <a:pt x="680" y="219"/>
                    <a:pt x="681" y="227"/>
                    <a:pt x="686" y="231"/>
                  </a:cubicBezTo>
                  <a:cubicBezTo>
                    <a:pt x="690" y="234"/>
                    <a:pt x="696" y="231"/>
                    <a:pt x="696" y="226"/>
                  </a:cubicBezTo>
                  <a:cubicBezTo>
                    <a:pt x="695" y="223"/>
                    <a:pt x="692" y="218"/>
                    <a:pt x="687" y="218"/>
                  </a:cubicBezTo>
                  <a:close/>
                  <a:moveTo>
                    <a:pt x="690" y="236"/>
                  </a:moveTo>
                  <a:cubicBezTo>
                    <a:pt x="684" y="237"/>
                    <a:pt x="684" y="245"/>
                    <a:pt x="689" y="248"/>
                  </a:cubicBezTo>
                  <a:cubicBezTo>
                    <a:pt x="694" y="252"/>
                    <a:pt x="700" y="249"/>
                    <a:pt x="699" y="244"/>
                  </a:cubicBezTo>
                  <a:cubicBezTo>
                    <a:pt x="699" y="240"/>
                    <a:pt x="696" y="236"/>
                    <a:pt x="690" y="236"/>
                  </a:cubicBezTo>
                  <a:close/>
                  <a:moveTo>
                    <a:pt x="699" y="291"/>
                  </a:moveTo>
                  <a:cubicBezTo>
                    <a:pt x="692" y="292"/>
                    <a:pt x="692" y="301"/>
                    <a:pt x="697" y="305"/>
                  </a:cubicBezTo>
                  <a:cubicBezTo>
                    <a:pt x="702" y="309"/>
                    <a:pt x="709" y="306"/>
                    <a:pt x="709" y="300"/>
                  </a:cubicBezTo>
                  <a:cubicBezTo>
                    <a:pt x="708" y="296"/>
                    <a:pt x="705" y="291"/>
                    <a:pt x="699" y="291"/>
                  </a:cubicBezTo>
                  <a:close/>
                  <a:moveTo>
                    <a:pt x="431" y="25"/>
                  </a:moveTo>
                  <a:cubicBezTo>
                    <a:pt x="427" y="26"/>
                    <a:pt x="419" y="31"/>
                    <a:pt x="420" y="32"/>
                  </a:cubicBezTo>
                  <a:cubicBezTo>
                    <a:pt x="421" y="32"/>
                    <a:pt x="424" y="31"/>
                    <a:pt x="428" y="29"/>
                  </a:cubicBezTo>
                  <a:cubicBezTo>
                    <a:pt x="430" y="27"/>
                    <a:pt x="432" y="25"/>
                    <a:pt x="431" y="25"/>
                  </a:cubicBezTo>
                  <a:cubicBezTo>
                    <a:pt x="431" y="25"/>
                    <a:pt x="431" y="25"/>
                    <a:pt x="431" y="25"/>
                  </a:cubicBezTo>
                  <a:close/>
                  <a:moveTo>
                    <a:pt x="357" y="85"/>
                  </a:moveTo>
                  <a:cubicBezTo>
                    <a:pt x="357" y="85"/>
                    <a:pt x="357" y="85"/>
                    <a:pt x="357" y="85"/>
                  </a:cubicBezTo>
                  <a:cubicBezTo>
                    <a:pt x="351" y="86"/>
                    <a:pt x="345" y="93"/>
                    <a:pt x="347" y="95"/>
                  </a:cubicBezTo>
                  <a:cubicBezTo>
                    <a:pt x="349" y="96"/>
                    <a:pt x="353" y="94"/>
                    <a:pt x="356" y="91"/>
                  </a:cubicBezTo>
                  <a:cubicBezTo>
                    <a:pt x="359" y="88"/>
                    <a:pt x="359" y="85"/>
                    <a:pt x="357" y="85"/>
                  </a:cubicBezTo>
                  <a:close/>
                  <a:moveTo>
                    <a:pt x="424" y="25"/>
                  </a:moveTo>
                  <a:cubicBezTo>
                    <a:pt x="420" y="26"/>
                    <a:pt x="412" y="31"/>
                    <a:pt x="413" y="32"/>
                  </a:cubicBezTo>
                  <a:cubicBezTo>
                    <a:pt x="414" y="32"/>
                    <a:pt x="417" y="31"/>
                    <a:pt x="421" y="29"/>
                  </a:cubicBezTo>
                  <a:cubicBezTo>
                    <a:pt x="423" y="27"/>
                    <a:pt x="426" y="25"/>
                    <a:pt x="425" y="25"/>
                  </a:cubicBezTo>
                  <a:cubicBezTo>
                    <a:pt x="425" y="25"/>
                    <a:pt x="424" y="25"/>
                    <a:pt x="424" y="25"/>
                  </a:cubicBezTo>
                  <a:close/>
                  <a:moveTo>
                    <a:pt x="784" y="176"/>
                  </a:moveTo>
                  <a:cubicBezTo>
                    <a:pt x="783" y="173"/>
                    <a:pt x="779" y="169"/>
                    <a:pt x="775" y="169"/>
                  </a:cubicBezTo>
                  <a:cubicBezTo>
                    <a:pt x="770" y="170"/>
                    <a:pt x="772" y="177"/>
                    <a:pt x="777" y="180"/>
                  </a:cubicBezTo>
                  <a:cubicBezTo>
                    <a:pt x="781" y="183"/>
                    <a:pt x="785" y="181"/>
                    <a:pt x="784" y="177"/>
                  </a:cubicBezTo>
                  <a:cubicBezTo>
                    <a:pt x="784" y="177"/>
                    <a:pt x="784" y="176"/>
                    <a:pt x="784" y="176"/>
                  </a:cubicBezTo>
                  <a:close/>
                  <a:moveTo>
                    <a:pt x="349" y="60"/>
                  </a:moveTo>
                  <a:cubicBezTo>
                    <a:pt x="350" y="61"/>
                    <a:pt x="354" y="59"/>
                    <a:pt x="357" y="56"/>
                  </a:cubicBezTo>
                  <a:cubicBezTo>
                    <a:pt x="361" y="54"/>
                    <a:pt x="362" y="52"/>
                    <a:pt x="361" y="52"/>
                  </a:cubicBezTo>
                  <a:cubicBezTo>
                    <a:pt x="361" y="52"/>
                    <a:pt x="361" y="52"/>
                    <a:pt x="361" y="52"/>
                  </a:cubicBezTo>
                  <a:cubicBezTo>
                    <a:pt x="356" y="53"/>
                    <a:pt x="348" y="59"/>
                    <a:pt x="349" y="60"/>
                  </a:cubicBezTo>
                  <a:close/>
                  <a:moveTo>
                    <a:pt x="471" y="209"/>
                  </a:moveTo>
                  <a:cubicBezTo>
                    <a:pt x="472" y="206"/>
                    <a:pt x="470" y="201"/>
                    <a:pt x="465" y="201"/>
                  </a:cubicBezTo>
                  <a:cubicBezTo>
                    <a:pt x="457" y="202"/>
                    <a:pt x="455" y="210"/>
                    <a:pt x="459" y="214"/>
                  </a:cubicBezTo>
                  <a:cubicBezTo>
                    <a:pt x="463" y="216"/>
                    <a:pt x="469" y="214"/>
                    <a:pt x="471" y="209"/>
                  </a:cubicBezTo>
                  <a:close/>
                  <a:moveTo>
                    <a:pt x="733" y="267"/>
                  </a:moveTo>
                  <a:cubicBezTo>
                    <a:pt x="738" y="271"/>
                    <a:pt x="743" y="268"/>
                    <a:pt x="743" y="262"/>
                  </a:cubicBezTo>
                  <a:cubicBezTo>
                    <a:pt x="742" y="258"/>
                    <a:pt x="739" y="254"/>
                    <a:pt x="733" y="254"/>
                  </a:cubicBezTo>
                  <a:cubicBezTo>
                    <a:pt x="727" y="255"/>
                    <a:pt x="727" y="263"/>
                    <a:pt x="733" y="267"/>
                  </a:cubicBezTo>
                  <a:close/>
                  <a:moveTo>
                    <a:pt x="473" y="192"/>
                  </a:moveTo>
                  <a:cubicBezTo>
                    <a:pt x="474" y="189"/>
                    <a:pt x="473" y="185"/>
                    <a:pt x="468" y="185"/>
                  </a:cubicBezTo>
                  <a:cubicBezTo>
                    <a:pt x="461" y="186"/>
                    <a:pt x="458" y="194"/>
                    <a:pt x="462" y="197"/>
                  </a:cubicBezTo>
                  <a:cubicBezTo>
                    <a:pt x="466" y="200"/>
                    <a:pt x="472" y="197"/>
                    <a:pt x="473" y="192"/>
                  </a:cubicBezTo>
                  <a:close/>
                  <a:moveTo>
                    <a:pt x="736" y="286"/>
                  </a:moveTo>
                  <a:cubicBezTo>
                    <a:pt x="741" y="289"/>
                    <a:pt x="747" y="287"/>
                    <a:pt x="747" y="281"/>
                  </a:cubicBezTo>
                  <a:cubicBezTo>
                    <a:pt x="746" y="277"/>
                    <a:pt x="743" y="272"/>
                    <a:pt x="737" y="272"/>
                  </a:cubicBezTo>
                  <a:cubicBezTo>
                    <a:pt x="731" y="273"/>
                    <a:pt x="731" y="282"/>
                    <a:pt x="736" y="286"/>
                  </a:cubicBezTo>
                  <a:close/>
                  <a:moveTo>
                    <a:pt x="452" y="291"/>
                  </a:moveTo>
                  <a:cubicBezTo>
                    <a:pt x="444" y="293"/>
                    <a:pt x="442" y="302"/>
                    <a:pt x="447" y="305"/>
                  </a:cubicBezTo>
                  <a:cubicBezTo>
                    <a:pt x="451" y="309"/>
                    <a:pt x="458" y="305"/>
                    <a:pt x="459" y="300"/>
                  </a:cubicBezTo>
                  <a:cubicBezTo>
                    <a:pt x="460" y="296"/>
                    <a:pt x="458" y="291"/>
                    <a:pt x="452" y="291"/>
                  </a:cubicBezTo>
                  <a:close/>
                  <a:moveTo>
                    <a:pt x="781" y="262"/>
                  </a:moveTo>
                  <a:cubicBezTo>
                    <a:pt x="781" y="258"/>
                    <a:pt x="777" y="254"/>
                    <a:pt x="772" y="254"/>
                  </a:cubicBezTo>
                  <a:cubicBezTo>
                    <a:pt x="766" y="255"/>
                    <a:pt x="767" y="263"/>
                    <a:pt x="772" y="267"/>
                  </a:cubicBezTo>
                  <a:cubicBezTo>
                    <a:pt x="777" y="271"/>
                    <a:pt x="782" y="268"/>
                    <a:pt x="781" y="262"/>
                  </a:cubicBezTo>
                  <a:close/>
                  <a:moveTo>
                    <a:pt x="420" y="103"/>
                  </a:moveTo>
                  <a:cubicBezTo>
                    <a:pt x="422" y="101"/>
                    <a:pt x="422" y="97"/>
                    <a:pt x="418" y="98"/>
                  </a:cubicBezTo>
                  <a:cubicBezTo>
                    <a:pt x="413" y="98"/>
                    <a:pt x="408" y="106"/>
                    <a:pt x="411" y="107"/>
                  </a:cubicBezTo>
                  <a:cubicBezTo>
                    <a:pt x="414" y="109"/>
                    <a:pt x="418" y="107"/>
                    <a:pt x="420" y="103"/>
                  </a:cubicBezTo>
                  <a:close/>
                  <a:moveTo>
                    <a:pt x="791" y="192"/>
                  </a:moveTo>
                  <a:cubicBezTo>
                    <a:pt x="790" y="189"/>
                    <a:pt x="787" y="185"/>
                    <a:pt x="782" y="185"/>
                  </a:cubicBezTo>
                  <a:cubicBezTo>
                    <a:pt x="777" y="186"/>
                    <a:pt x="779" y="193"/>
                    <a:pt x="784" y="196"/>
                  </a:cubicBezTo>
                  <a:cubicBezTo>
                    <a:pt x="789" y="199"/>
                    <a:pt x="793" y="198"/>
                    <a:pt x="792" y="193"/>
                  </a:cubicBezTo>
                  <a:cubicBezTo>
                    <a:pt x="792" y="193"/>
                    <a:pt x="792" y="192"/>
                    <a:pt x="791" y="192"/>
                  </a:cubicBezTo>
                  <a:close/>
                  <a:moveTo>
                    <a:pt x="726" y="281"/>
                  </a:moveTo>
                  <a:cubicBezTo>
                    <a:pt x="726" y="277"/>
                    <a:pt x="723" y="272"/>
                    <a:pt x="717" y="272"/>
                  </a:cubicBezTo>
                  <a:cubicBezTo>
                    <a:pt x="710" y="273"/>
                    <a:pt x="710" y="282"/>
                    <a:pt x="716" y="286"/>
                  </a:cubicBezTo>
                  <a:cubicBezTo>
                    <a:pt x="721" y="289"/>
                    <a:pt x="727" y="286"/>
                    <a:pt x="726" y="281"/>
                  </a:cubicBezTo>
                  <a:close/>
                  <a:moveTo>
                    <a:pt x="799" y="209"/>
                  </a:moveTo>
                  <a:cubicBezTo>
                    <a:pt x="798" y="205"/>
                    <a:pt x="794" y="201"/>
                    <a:pt x="789" y="201"/>
                  </a:cubicBezTo>
                  <a:cubicBezTo>
                    <a:pt x="784" y="202"/>
                    <a:pt x="786" y="210"/>
                    <a:pt x="791" y="213"/>
                  </a:cubicBezTo>
                  <a:cubicBezTo>
                    <a:pt x="795" y="216"/>
                    <a:pt x="799" y="215"/>
                    <a:pt x="799" y="210"/>
                  </a:cubicBezTo>
                  <a:cubicBezTo>
                    <a:pt x="799" y="210"/>
                    <a:pt x="799" y="209"/>
                    <a:pt x="799" y="209"/>
                  </a:cubicBezTo>
                  <a:close/>
                  <a:moveTo>
                    <a:pt x="725" y="218"/>
                  </a:moveTo>
                  <a:cubicBezTo>
                    <a:pt x="719" y="219"/>
                    <a:pt x="719" y="227"/>
                    <a:pt x="724" y="231"/>
                  </a:cubicBezTo>
                  <a:cubicBezTo>
                    <a:pt x="729" y="234"/>
                    <a:pt x="735" y="231"/>
                    <a:pt x="734" y="226"/>
                  </a:cubicBezTo>
                  <a:cubicBezTo>
                    <a:pt x="733" y="223"/>
                    <a:pt x="730" y="218"/>
                    <a:pt x="725" y="218"/>
                  </a:cubicBezTo>
                  <a:close/>
                  <a:moveTo>
                    <a:pt x="378" y="91"/>
                  </a:moveTo>
                  <a:cubicBezTo>
                    <a:pt x="380" y="88"/>
                    <a:pt x="382" y="85"/>
                    <a:pt x="378" y="85"/>
                  </a:cubicBezTo>
                  <a:cubicBezTo>
                    <a:pt x="373" y="86"/>
                    <a:pt x="367" y="93"/>
                    <a:pt x="369" y="95"/>
                  </a:cubicBezTo>
                  <a:cubicBezTo>
                    <a:pt x="371" y="96"/>
                    <a:pt x="375" y="94"/>
                    <a:pt x="378" y="91"/>
                  </a:cubicBezTo>
                  <a:close/>
                  <a:moveTo>
                    <a:pt x="388" y="79"/>
                  </a:moveTo>
                  <a:cubicBezTo>
                    <a:pt x="391" y="76"/>
                    <a:pt x="391" y="73"/>
                    <a:pt x="389" y="73"/>
                  </a:cubicBezTo>
                  <a:cubicBezTo>
                    <a:pt x="389" y="73"/>
                    <a:pt x="389" y="73"/>
                    <a:pt x="389" y="73"/>
                  </a:cubicBezTo>
                  <a:cubicBezTo>
                    <a:pt x="383" y="74"/>
                    <a:pt x="378" y="81"/>
                    <a:pt x="380" y="83"/>
                  </a:cubicBezTo>
                  <a:cubicBezTo>
                    <a:pt x="381" y="83"/>
                    <a:pt x="385" y="81"/>
                    <a:pt x="388" y="79"/>
                  </a:cubicBezTo>
                  <a:close/>
                  <a:moveTo>
                    <a:pt x="397" y="111"/>
                  </a:moveTo>
                  <a:cubicBezTo>
                    <a:pt x="391" y="112"/>
                    <a:pt x="387" y="119"/>
                    <a:pt x="390" y="121"/>
                  </a:cubicBezTo>
                  <a:cubicBezTo>
                    <a:pt x="392" y="122"/>
                    <a:pt x="397" y="120"/>
                    <a:pt x="399" y="117"/>
                  </a:cubicBezTo>
                  <a:cubicBezTo>
                    <a:pt x="401" y="114"/>
                    <a:pt x="401" y="110"/>
                    <a:pt x="397" y="111"/>
                  </a:cubicBezTo>
                  <a:close/>
                  <a:moveTo>
                    <a:pt x="743" y="218"/>
                  </a:moveTo>
                  <a:cubicBezTo>
                    <a:pt x="737" y="219"/>
                    <a:pt x="738" y="227"/>
                    <a:pt x="743" y="231"/>
                  </a:cubicBezTo>
                  <a:cubicBezTo>
                    <a:pt x="748" y="234"/>
                    <a:pt x="754" y="231"/>
                    <a:pt x="752" y="226"/>
                  </a:cubicBezTo>
                  <a:cubicBezTo>
                    <a:pt x="752" y="223"/>
                    <a:pt x="748" y="218"/>
                    <a:pt x="743" y="218"/>
                  </a:cubicBezTo>
                  <a:close/>
                  <a:moveTo>
                    <a:pt x="675" y="305"/>
                  </a:moveTo>
                  <a:cubicBezTo>
                    <a:pt x="680" y="309"/>
                    <a:pt x="687" y="306"/>
                    <a:pt x="687" y="300"/>
                  </a:cubicBezTo>
                  <a:cubicBezTo>
                    <a:pt x="687" y="296"/>
                    <a:pt x="684" y="291"/>
                    <a:pt x="678" y="291"/>
                  </a:cubicBezTo>
                  <a:cubicBezTo>
                    <a:pt x="671" y="292"/>
                    <a:pt x="670" y="301"/>
                    <a:pt x="675" y="305"/>
                  </a:cubicBezTo>
                  <a:close/>
                  <a:moveTo>
                    <a:pt x="400" y="62"/>
                  </a:moveTo>
                  <a:cubicBezTo>
                    <a:pt x="400" y="62"/>
                    <a:pt x="399" y="62"/>
                    <a:pt x="399" y="62"/>
                  </a:cubicBezTo>
                  <a:cubicBezTo>
                    <a:pt x="394" y="63"/>
                    <a:pt x="388" y="70"/>
                    <a:pt x="390" y="71"/>
                  </a:cubicBezTo>
                  <a:cubicBezTo>
                    <a:pt x="392" y="72"/>
                    <a:pt x="396" y="70"/>
                    <a:pt x="399" y="67"/>
                  </a:cubicBezTo>
                  <a:cubicBezTo>
                    <a:pt x="401" y="65"/>
                    <a:pt x="402" y="62"/>
                    <a:pt x="400" y="62"/>
                  </a:cubicBezTo>
                  <a:close/>
                  <a:moveTo>
                    <a:pt x="367" y="91"/>
                  </a:moveTo>
                  <a:cubicBezTo>
                    <a:pt x="369" y="88"/>
                    <a:pt x="370" y="85"/>
                    <a:pt x="368" y="85"/>
                  </a:cubicBezTo>
                  <a:cubicBezTo>
                    <a:pt x="368" y="85"/>
                    <a:pt x="367" y="85"/>
                    <a:pt x="367" y="85"/>
                  </a:cubicBezTo>
                  <a:cubicBezTo>
                    <a:pt x="362" y="86"/>
                    <a:pt x="356" y="93"/>
                    <a:pt x="358" y="95"/>
                  </a:cubicBezTo>
                  <a:cubicBezTo>
                    <a:pt x="360" y="96"/>
                    <a:pt x="364" y="94"/>
                    <a:pt x="367" y="91"/>
                  </a:cubicBezTo>
                  <a:close/>
                  <a:moveTo>
                    <a:pt x="775" y="192"/>
                  </a:moveTo>
                  <a:cubicBezTo>
                    <a:pt x="774" y="189"/>
                    <a:pt x="771" y="185"/>
                    <a:pt x="766" y="185"/>
                  </a:cubicBezTo>
                  <a:cubicBezTo>
                    <a:pt x="761" y="186"/>
                    <a:pt x="763" y="193"/>
                    <a:pt x="768" y="196"/>
                  </a:cubicBezTo>
                  <a:cubicBezTo>
                    <a:pt x="772" y="200"/>
                    <a:pt x="777" y="197"/>
                    <a:pt x="775" y="193"/>
                  </a:cubicBezTo>
                  <a:cubicBezTo>
                    <a:pt x="775" y="192"/>
                    <a:pt x="775" y="192"/>
                    <a:pt x="775" y="192"/>
                  </a:cubicBezTo>
                  <a:close/>
                  <a:moveTo>
                    <a:pt x="714" y="254"/>
                  </a:moveTo>
                  <a:cubicBezTo>
                    <a:pt x="707" y="255"/>
                    <a:pt x="707" y="263"/>
                    <a:pt x="712" y="267"/>
                  </a:cubicBezTo>
                  <a:cubicBezTo>
                    <a:pt x="717" y="271"/>
                    <a:pt x="723" y="268"/>
                    <a:pt x="723" y="262"/>
                  </a:cubicBezTo>
                  <a:cubicBezTo>
                    <a:pt x="722" y="258"/>
                    <a:pt x="719" y="254"/>
                    <a:pt x="714" y="254"/>
                  </a:cubicBezTo>
                  <a:close/>
                  <a:moveTo>
                    <a:pt x="756" y="201"/>
                  </a:moveTo>
                  <a:cubicBezTo>
                    <a:pt x="750" y="202"/>
                    <a:pt x="751" y="210"/>
                    <a:pt x="756" y="213"/>
                  </a:cubicBezTo>
                  <a:cubicBezTo>
                    <a:pt x="761" y="216"/>
                    <a:pt x="766" y="214"/>
                    <a:pt x="765" y="209"/>
                  </a:cubicBezTo>
                  <a:cubicBezTo>
                    <a:pt x="765" y="209"/>
                    <a:pt x="765" y="209"/>
                    <a:pt x="765" y="209"/>
                  </a:cubicBezTo>
                  <a:cubicBezTo>
                    <a:pt x="764" y="205"/>
                    <a:pt x="760" y="201"/>
                    <a:pt x="756" y="201"/>
                  </a:cubicBezTo>
                  <a:close/>
                  <a:moveTo>
                    <a:pt x="409" y="67"/>
                  </a:moveTo>
                  <a:cubicBezTo>
                    <a:pt x="412" y="65"/>
                    <a:pt x="412" y="62"/>
                    <a:pt x="410" y="62"/>
                  </a:cubicBezTo>
                  <a:cubicBezTo>
                    <a:pt x="410" y="62"/>
                    <a:pt x="410" y="62"/>
                    <a:pt x="409" y="62"/>
                  </a:cubicBezTo>
                  <a:cubicBezTo>
                    <a:pt x="404" y="63"/>
                    <a:pt x="399" y="69"/>
                    <a:pt x="401" y="71"/>
                  </a:cubicBezTo>
                  <a:cubicBezTo>
                    <a:pt x="402" y="72"/>
                    <a:pt x="406" y="70"/>
                    <a:pt x="409" y="67"/>
                  </a:cubicBezTo>
                  <a:close/>
                  <a:moveTo>
                    <a:pt x="696" y="272"/>
                  </a:moveTo>
                  <a:cubicBezTo>
                    <a:pt x="690" y="273"/>
                    <a:pt x="689" y="282"/>
                    <a:pt x="695" y="286"/>
                  </a:cubicBezTo>
                  <a:cubicBezTo>
                    <a:pt x="700" y="289"/>
                    <a:pt x="706" y="287"/>
                    <a:pt x="706" y="281"/>
                  </a:cubicBezTo>
                  <a:cubicBezTo>
                    <a:pt x="705" y="277"/>
                    <a:pt x="702" y="272"/>
                    <a:pt x="696" y="272"/>
                  </a:cubicBezTo>
                  <a:close/>
                  <a:moveTo>
                    <a:pt x="451" y="32"/>
                  </a:moveTo>
                  <a:cubicBezTo>
                    <a:pt x="452" y="32"/>
                    <a:pt x="455" y="31"/>
                    <a:pt x="458" y="29"/>
                  </a:cubicBezTo>
                  <a:cubicBezTo>
                    <a:pt x="460" y="27"/>
                    <a:pt x="461" y="25"/>
                    <a:pt x="460" y="25"/>
                  </a:cubicBezTo>
                  <a:cubicBezTo>
                    <a:pt x="460" y="25"/>
                    <a:pt x="460" y="25"/>
                    <a:pt x="459" y="25"/>
                  </a:cubicBezTo>
                  <a:cubicBezTo>
                    <a:pt x="455" y="26"/>
                    <a:pt x="449" y="31"/>
                    <a:pt x="451" y="32"/>
                  </a:cubicBezTo>
                  <a:close/>
                  <a:moveTo>
                    <a:pt x="730" y="300"/>
                  </a:moveTo>
                  <a:cubicBezTo>
                    <a:pt x="729" y="296"/>
                    <a:pt x="726" y="291"/>
                    <a:pt x="720" y="291"/>
                  </a:cubicBezTo>
                  <a:cubicBezTo>
                    <a:pt x="714" y="292"/>
                    <a:pt x="713" y="301"/>
                    <a:pt x="719" y="305"/>
                  </a:cubicBezTo>
                  <a:cubicBezTo>
                    <a:pt x="724" y="309"/>
                    <a:pt x="730" y="306"/>
                    <a:pt x="730" y="300"/>
                  </a:cubicBezTo>
                  <a:close/>
                  <a:moveTo>
                    <a:pt x="738" y="201"/>
                  </a:moveTo>
                  <a:cubicBezTo>
                    <a:pt x="732" y="202"/>
                    <a:pt x="733" y="210"/>
                    <a:pt x="738" y="213"/>
                  </a:cubicBezTo>
                  <a:cubicBezTo>
                    <a:pt x="743" y="216"/>
                    <a:pt x="748" y="214"/>
                    <a:pt x="747" y="209"/>
                  </a:cubicBezTo>
                  <a:cubicBezTo>
                    <a:pt x="747" y="209"/>
                    <a:pt x="747" y="209"/>
                    <a:pt x="747" y="209"/>
                  </a:cubicBezTo>
                  <a:cubicBezTo>
                    <a:pt x="746" y="205"/>
                    <a:pt x="743" y="201"/>
                    <a:pt x="738" y="201"/>
                  </a:cubicBezTo>
                  <a:close/>
                  <a:moveTo>
                    <a:pt x="439" y="37"/>
                  </a:moveTo>
                  <a:cubicBezTo>
                    <a:pt x="442" y="35"/>
                    <a:pt x="443" y="34"/>
                    <a:pt x="441" y="33"/>
                  </a:cubicBezTo>
                  <a:cubicBezTo>
                    <a:pt x="441" y="33"/>
                    <a:pt x="441" y="33"/>
                    <a:pt x="441" y="33"/>
                  </a:cubicBezTo>
                  <a:cubicBezTo>
                    <a:pt x="437" y="34"/>
                    <a:pt x="431" y="39"/>
                    <a:pt x="432" y="40"/>
                  </a:cubicBezTo>
                  <a:cubicBezTo>
                    <a:pt x="433" y="41"/>
                    <a:pt x="437" y="39"/>
                    <a:pt x="439" y="37"/>
                  </a:cubicBezTo>
                  <a:close/>
                  <a:moveTo>
                    <a:pt x="434" y="33"/>
                  </a:moveTo>
                  <a:cubicBezTo>
                    <a:pt x="433" y="33"/>
                    <a:pt x="433" y="33"/>
                    <a:pt x="433" y="33"/>
                  </a:cubicBezTo>
                  <a:cubicBezTo>
                    <a:pt x="429" y="34"/>
                    <a:pt x="422" y="39"/>
                    <a:pt x="424" y="40"/>
                  </a:cubicBezTo>
                  <a:cubicBezTo>
                    <a:pt x="424" y="41"/>
                    <a:pt x="428" y="40"/>
                    <a:pt x="431" y="37"/>
                  </a:cubicBezTo>
                  <a:cubicBezTo>
                    <a:pt x="434" y="35"/>
                    <a:pt x="435" y="34"/>
                    <a:pt x="434" y="33"/>
                  </a:cubicBezTo>
                  <a:close/>
                  <a:moveTo>
                    <a:pt x="452" y="25"/>
                  </a:moveTo>
                  <a:cubicBezTo>
                    <a:pt x="448" y="26"/>
                    <a:pt x="442" y="31"/>
                    <a:pt x="443" y="32"/>
                  </a:cubicBezTo>
                  <a:cubicBezTo>
                    <a:pt x="444" y="32"/>
                    <a:pt x="447" y="31"/>
                    <a:pt x="450" y="29"/>
                  </a:cubicBezTo>
                  <a:cubicBezTo>
                    <a:pt x="452" y="27"/>
                    <a:pt x="454" y="25"/>
                    <a:pt x="452" y="25"/>
                  </a:cubicBezTo>
                  <a:cubicBezTo>
                    <a:pt x="452" y="25"/>
                    <a:pt x="452" y="25"/>
                    <a:pt x="452" y="25"/>
                  </a:cubicBezTo>
                  <a:close/>
                  <a:moveTo>
                    <a:pt x="762" y="231"/>
                  </a:moveTo>
                  <a:cubicBezTo>
                    <a:pt x="766" y="234"/>
                    <a:pt x="771" y="232"/>
                    <a:pt x="771" y="227"/>
                  </a:cubicBezTo>
                  <a:cubicBezTo>
                    <a:pt x="771" y="226"/>
                    <a:pt x="771" y="226"/>
                    <a:pt x="770" y="226"/>
                  </a:cubicBezTo>
                  <a:cubicBezTo>
                    <a:pt x="770" y="223"/>
                    <a:pt x="766" y="218"/>
                    <a:pt x="761" y="218"/>
                  </a:cubicBezTo>
                  <a:cubicBezTo>
                    <a:pt x="756" y="219"/>
                    <a:pt x="757" y="227"/>
                    <a:pt x="762" y="231"/>
                  </a:cubicBezTo>
                  <a:close/>
                  <a:moveTo>
                    <a:pt x="748" y="236"/>
                  </a:moveTo>
                  <a:cubicBezTo>
                    <a:pt x="742" y="237"/>
                    <a:pt x="743" y="245"/>
                    <a:pt x="748" y="248"/>
                  </a:cubicBezTo>
                  <a:cubicBezTo>
                    <a:pt x="753" y="252"/>
                    <a:pt x="758" y="249"/>
                    <a:pt x="757" y="244"/>
                  </a:cubicBezTo>
                  <a:cubicBezTo>
                    <a:pt x="757" y="240"/>
                    <a:pt x="753" y="236"/>
                    <a:pt x="748" y="236"/>
                  </a:cubicBezTo>
                  <a:close/>
                  <a:moveTo>
                    <a:pt x="475" y="25"/>
                  </a:moveTo>
                  <a:cubicBezTo>
                    <a:pt x="475" y="25"/>
                    <a:pt x="475" y="25"/>
                    <a:pt x="475" y="25"/>
                  </a:cubicBezTo>
                  <a:cubicBezTo>
                    <a:pt x="471" y="26"/>
                    <a:pt x="466" y="30"/>
                    <a:pt x="467" y="31"/>
                  </a:cubicBezTo>
                  <a:cubicBezTo>
                    <a:pt x="468" y="32"/>
                    <a:pt x="472" y="31"/>
                    <a:pt x="474" y="29"/>
                  </a:cubicBezTo>
                  <a:cubicBezTo>
                    <a:pt x="476" y="27"/>
                    <a:pt x="477" y="25"/>
                    <a:pt x="475" y="25"/>
                  </a:cubicBezTo>
                  <a:close/>
                  <a:moveTo>
                    <a:pt x="788" y="226"/>
                  </a:moveTo>
                  <a:cubicBezTo>
                    <a:pt x="787" y="223"/>
                    <a:pt x="784" y="218"/>
                    <a:pt x="779" y="218"/>
                  </a:cubicBezTo>
                  <a:cubicBezTo>
                    <a:pt x="773" y="219"/>
                    <a:pt x="775" y="227"/>
                    <a:pt x="780" y="231"/>
                  </a:cubicBezTo>
                  <a:cubicBezTo>
                    <a:pt x="784" y="234"/>
                    <a:pt x="789" y="232"/>
                    <a:pt x="788" y="227"/>
                  </a:cubicBezTo>
                  <a:cubicBezTo>
                    <a:pt x="788" y="226"/>
                    <a:pt x="788" y="226"/>
                    <a:pt x="788" y="226"/>
                  </a:cubicBezTo>
                  <a:close/>
                  <a:moveTo>
                    <a:pt x="445" y="25"/>
                  </a:moveTo>
                  <a:cubicBezTo>
                    <a:pt x="441" y="26"/>
                    <a:pt x="434" y="30"/>
                    <a:pt x="435" y="32"/>
                  </a:cubicBezTo>
                  <a:cubicBezTo>
                    <a:pt x="436" y="32"/>
                    <a:pt x="439" y="31"/>
                    <a:pt x="442" y="29"/>
                  </a:cubicBezTo>
                  <a:cubicBezTo>
                    <a:pt x="445" y="27"/>
                    <a:pt x="446" y="25"/>
                    <a:pt x="445" y="25"/>
                  </a:cubicBezTo>
                  <a:cubicBezTo>
                    <a:pt x="445" y="25"/>
                    <a:pt x="445" y="25"/>
                    <a:pt x="445" y="25"/>
                  </a:cubicBezTo>
                  <a:close/>
                  <a:moveTo>
                    <a:pt x="785" y="248"/>
                  </a:moveTo>
                  <a:cubicBezTo>
                    <a:pt x="790" y="252"/>
                    <a:pt x="795" y="250"/>
                    <a:pt x="794" y="244"/>
                  </a:cubicBezTo>
                  <a:cubicBezTo>
                    <a:pt x="794" y="244"/>
                    <a:pt x="794" y="244"/>
                    <a:pt x="794" y="244"/>
                  </a:cubicBezTo>
                  <a:cubicBezTo>
                    <a:pt x="793" y="240"/>
                    <a:pt x="790" y="236"/>
                    <a:pt x="785" y="236"/>
                  </a:cubicBezTo>
                  <a:cubicBezTo>
                    <a:pt x="779" y="237"/>
                    <a:pt x="780" y="245"/>
                    <a:pt x="785" y="248"/>
                  </a:cubicBezTo>
                  <a:close/>
                  <a:moveTo>
                    <a:pt x="673" y="254"/>
                  </a:moveTo>
                  <a:cubicBezTo>
                    <a:pt x="666" y="255"/>
                    <a:pt x="666" y="263"/>
                    <a:pt x="671" y="267"/>
                  </a:cubicBezTo>
                  <a:cubicBezTo>
                    <a:pt x="676" y="271"/>
                    <a:pt x="682" y="268"/>
                    <a:pt x="682" y="262"/>
                  </a:cubicBezTo>
                  <a:cubicBezTo>
                    <a:pt x="682" y="258"/>
                    <a:pt x="678" y="254"/>
                    <a:pt x="673" y="254"/>
                  </a:cubicBezTo>
                  <a:close/>
                  <a:moveTo>
                    <a:pt x="388" y="67"/>
                  </a:moveTo>
                  <a:cubicBezTo>
                    <a:pt x="391" y="65"/>
                    <a:pt x="392" y="62"/>
                    <a:pt x="390" y="62"/>
                  </a:cubicBezTo>
                  <a:cubicBezTo>
                    <a:pt x="390" y="62"/>
                    <a:pt x="390" y="62"/>
                    <a:pt x="390" y="62"/>
                  </a:cubicBezTo>
                  <a:cubicBezTo>
                    <a:pt x="385" y="63"/>
                    <a:pt x="378" y="70"/>
                    <a:pt x="380" y="71"/>
                  </a:cubicBezTo>
                  <a:cubicBezTo>
                    <a:pt x="381" y="72"/>
                    <a:pt x="385" y="70"/>
                    <a:pt x="388" y="67"/>
                  </a:cubicBezTo>
                  <a:close/>
                  <a:moveTo>
                    <a:pt x="483" y="21"/>
                  </a:moveTo>
                  <a:cubicBezTo>
                    <a:pt x="485" y="19"/>
                    <a:pt x="485" y="18"/>
                    <a:pt x="484" y="18"/>
                  </a:cubicBezTo>
                  <a:cubicBezTo>
                    <a:pt x="484" y="18"/>
                    <a:pt x="484" y="18"/>
                    <a:pt x="484" y="18"/>
                  </a:cubicBezTo>
                  <a:cubicBezTo>
                    <a:pt x="480" y="18"/>
                    <a:pt x="475" y="23"/>
                    <a:pt x="476" y="24"/>
                  </a:cubicBezTo>
                  <a:cubicBezTo>
                    <a:pt x="477" y="24"/>
                    <a:pt x="480" y="23"/>
                    <a:pt x="483" y="21"/>
                  </a:cubicBezTo>
                  <a:close/>
                  <a:moveTo>
                    <a:pt x="439" y="56"/>
                  </a:moveTo>
                  <a:cubicBezTo>
                    <a:pt x="442" y="54"/>
                    <a:pt x="442" y="52"/>
                    <a:pt x="440" y="52"/>
                  </a:cubicBezTo>
                  <a:cubicBezTo>
                    <a:pt x="440" y="52"/>
                    <a:pt x="439" y="52"/>
                    <a:pt x="439" y="52"/>
                  </a:cubicBezTo>
                  <a:cubicBezTo>
                    <a:pt x="435" y="53"/>
                    <a:pt x="430" y="58"/>
                    <a:pt x="432" y="60"/>
                  </a:cubicBezTo>
                  <a:cubicBezTo>
                    <a:pt x="433" y="61"/>
                    <a:pt x="437" y="59"/>
                    <a:pt x="439" y="56"/>
                  </a:cubicBezTo>
                  <a:close/>
                  <a:moveTo>
                    <a:pt x="429" y="47"/>
                  </a:moveTo>
                  <a:cubicBezTo>
                    <a:pt x="432" y="44"/>
                    <a:pt x="432" y="43"/>
                    <a:pt x="431" y="42"/>
                  </a:cubicBezTo>
                  <a:cubicBezTo>
                    <a:pt x="431" y="42"/>
                    <a:pt x="430" y="42"/>
                    <a:pt x="430" y="42"/>
                  </a:cubicBezTo>
                  <a:cubicBezTo>
                    <a:pt x="426" y="43"/>
                    <a:pt x="420" y="49"/>
                    <a:pt x="421" y="50"/>
                  </a:cubicBezTo>
                  <a:cubicBezTo>
                    <a:pt x="423" y="51"/>
                    <a:pt x="426" y="49"/>
                    <a:pt x="429" y="47"/>
                  </a:cubicBezTo>
                  <a:close/>
                  <a:moveTo>
                    <a:pt x="481" y="11"/>
                  </a:moveTo>
                  <a:cubicBezTo>
                    <a:pt x="481" y="11"/>
                    <a:pt x="480" y="11"/>
                    <a:pt x="480" y="11"/>
                  </a:cubicBezTo>
                  <a:cubicBezTo>
                    <a:pt x="477" y="12"/>
                    <a:pt x="471" y="15"/>
                    <a:pt x="472" y="16"/>
                  </a:cubicBezTo>
                  <a:cubicBezTo>
                    <a:pt x="472" y="17"/>
                    <a:pt x="475" y="16"/>
                    <a:pt x="478" y="14"/>
                  </a:cubicBezTo>
                  <a:cubicBezTo>
                    <a:pt x="480" y="13"/>
                    <a:pt x="482" y="11"/>
                    <a:pt x="481" y="11"/>
                  </a:cubicBezTo>
                  <a:close/>
                  <a:moveTo>
                    <a:pt x="409" y="56"/>
                  </a:moveTo>
                  <a:cubicBezTo>
                    <a:pt x="412" y="54"/>
                    <a:pt x="413" y="52"/>
                    <a:pt x="411" y="52"/>
                  </a:cubicBezTo>
                  <a:cubicBezTo>
                    <a:pt x="411" y="52"/>
                    <a:pt x="410" y="52"/>
                    <a:pt x="410" y="52"/>
                  </a:cubicBezTo>
                  <a:cubicBezTo>
                    <a:pt x="406" y="53"/>
                    <a:pt x="399" y="59"/>
                    <a:pt x="401" y="60"/>
                  </a:cubicBezTo>
                  <a:cubicBezTo>
                    <a:pt x="402" y="61"/>
                    <a:pt x="406" y="59"/>
                    <a:pt x="409" y="56"/>
                  </a:cubicBezTo>
                  <a:close/>
                  <a:moveTo>
                    <a:pt x="393" y="52"/>
                  </a:moveTo>
                  <a:cubicBezTo>
                    <a:pt x="393" y="52"/>
                    <a:pt x="393" y="52"/>
                    <a:pt x="392" y="52"/>
                  </a:cubicBezTo>
                  <a:cubicBezTo>
                    <a:pt x="388" y="53"/>
                    <a:pt x="381" y="59"/>
                    <a:pt x="382" y="60"/>
                  </a:cubicBezTo>
                  <a:cubicBezTo>
                    <a:pt x="383" y="61"/>
                    <a:pt x="387" y="59"/>
                    <a:pt x="391" y="56"/>
                  </a:cubicBezTo>
                  <a:cubicBezTo>
                    <a:pt x="393" y="54"/>
                    <a:pt x="394" y="52"/>
                    <a:pt x="393" y="52"/>
                  </a:cubicBezTo>
                  <a:close/>
                  <a:moveTo>
                    <a:pt x="419" y="56"/>
                  </a:moveTo>
                  <a:cubicBezTo>
                    <a:pt x="422" y="54"/>
                    <a:pt x="422" y="52"/>
                    <a:pt x="420" y="52"/>
                  </a:cubicBezTo>
                  <a:cubicBezTo>
                    <a:pt x="420" y="52"/>
                    <a:pt x="420" y="52"/>
                    <a:pt x="420" y="52"/>
                  </a:cubicBezTo>
                  <a:cubicBezTo>
                    <a:pt x="415" y="53"/>
                    <a:pt x="409" y="59"/>
                    <a:pt x="411" y="60"/>
                  </a:cubicBezTo>
                  <a:cubicBezTo>
                    <a:pt x="412" y="61"/>
                    <a:pt x="416" y="59"/>
                    <a:pt x="419" y="56"/>
                  </a:cubicBezTo>
                  <a:close/>
                  <a:moveTo>
                    <a:pt x="400" y="56"/>
                  </a:moveTo>
                  <a:cubicBezTo>
                    <a:pt x="402" y="54"/>
                    <a:pt x="403" y="52"/>
                    <a:pt x="402" y="52"/>
                  </a:cubicBezTo>
                  <a:cubicBezTo>
                    <a:pt x="402" y="52"/>
                    <a:pt x="401" y="52"/>
                    <a:pt x="401" y="52"/>
                  </a:cubicBezTo>
                  <a:cubicBezTo>
                    <a:pt x="397" y="53"/>
                    <a:pt x="390" y="59"/>
                    <a:pt x="392" y="60"/>
                  </a:cubicBezTo>
                  <a:cubicBezTo>
                    <a:pt x="393" y="61"/>
                    <a:pt x="397" y="59"/>
                    <a:pt x="400" y="56"/>
                  </a:cubicBezTo>
                  <a:close/>
                  <a:moveTo>
                    <a:pt x="729" y="248"/>
                  </a:moveTo>
                  <a:cubicBezTo>
                    <a:pt x="734" y="252"/>
                    <a:pt x="739" y="249"/>
                    <a:pt x="738" y="244"/>
                  </a:cubicBezTo>
                  <a:cubicBezTo>
                    <a:pt x="738" y="240"/>
                    <a:pt x="734" y="236"/>
                    <a:pt x="729" y="236"/>
                  </a:cubicBezTo>
                  <a:cubicBezTo>
                    <a:pt x="723" y="237"/>
                    <a:pt x="724" y="245"/>
                    <a:pt x="729" y="248"/>
                  </a:cubicBezTo>
                  <a:close/>
                  <a:moveTo>
                    <a:pt x="429" y="56"/>
                  </a:moveTo>
                  <a:cubicBezTo>
                    <a:pt x="431" y="54"/>
                    <a:pt x="432" y="52"/>
                    <a:pt x="430" y="52"/>
                  </a:cubicBezTo>
                  <a:cubicBezTo>
                    <a:pt x="430" y="52"/>
                    <a:pt x="429" y="52"/>
                    <a:pt x="429" y="52"/>
                  </a:cubicBezTo>
                  <a:cubicBezTo>
                    <a:pt x="425" y="53"/>
                    <a:pt x="419" y="58"/>
                    <a:pt x="421" y="60"/>
                  </a:cubicBezTo>
                  <a:cubicBezTo>
                    <a:pt x="422" y="61"/>
                    <a:pt x="426" y="59"/>
                    <a:pt x="429" y="56"/>
                  </a:cubicBezTo>
                  <a:close/>
                  <a:moveTo>
                    <a:pt x="776" y="160"/>
                  </a:moveTo>
                  <a:cubicBezTo>
                    <a:pt x="775" y="157"/>
                    <a:pt x="771" y="153"/>
                    <a:pt x="767" y="153"/>
                  </a:cubicBezTo>
                  <a:cubicBezTo>
                    <a:pt x="763" y="154"/>
                    <a:pt x="765" y="161"/>
                    <a:pt x="770" y="164"/>
                  </a:cubicBezTo>
                  <a:cubicBezTo>
                    <a:pt x="774" y="167"/>
                    <a:pt x="778" y="165"/>
                    <a:pt x="777" y="161"/>
                  </a:cubicBezTo>
                  <a:cubicBezTo>
                    <a:pt x="777" y="161"/>
                    <a:pt x="777" y="160"/>
                    <a:pt x="776" y="160"/>
                  </a:cubicBezTo>
                  <a:close/>
                  <a:moveTo>
                    <a:pt x="444" y="18"/>
                  </a:moveTo>
                  <a:cubicBezTo>
                    <a:pt x="440" y="18"/>
                    <a:pt x="432" y="23"/>
                    <a:pt x="433" y="24"/>
                  </a:cubicBezTo>
                  <a:cubicBezTo>
                    <a:pt x="434" y="24"/>
                    <a:pt x="437" y="23"/>
                    <a:pt x="441" y="21"/>
                  </a:cubicBezTo>
                  <a:cubicBezTo>
                    <a:pt x="443" y="20"/>
                    <a:pt x="445" y="18"/>
                    <a:pt x="445" y="18"/>
                  </a:cubicBezTo>
                  <a:cubicBezTo>
                    <a:pt x="444" y="18"/>
                    <a:pt x="444" y="18"/>
                    <a:pt x="444" y="18"/>
                  </a:cubicBezTo>
                  <a:close/>
                  <a:moveTo>
                    <a:pt x="750" y="185"/>
                  </a:moveTo>
                  <a:cubicBezTo>
                    <a:pt x="744" y="186"/>
                    <a:pt x="746" y="193"/>
                    <a:pt x="751" y="196"/>
                  </a:cubicBezTo>
                  <a:cubicBezTo>
                    <a:pt x="755" y="200"/>
                    <a:pt x="760" y="197"/>
                    <a:pt x="759" y="193"/>
                  </a:cubicBezTo>
                  <a:cubicBezTo>
                    <a:pt x="759" y="192"/>
                    <a:pt x="759" y="192"/>
                    <a:pt x="759" y="192"/>
                  </a:cubicBezTo>
                  <a:cubicBezTo>
                    <a:pt x="758" y="189"/>
                    <a:pt x="754" y="185"/>
                    <a:pt x="750" y="185"/>
                  </a:cubicBezTo>
                  <a:close/>
                  <a:moveTo>
                    <a:pt x="761" y="180"/>
                  </a:moveTo>
                  <a:cubicBezTo>
                    <a:pt x="765" y="183"/>
                    <a:pt x="769" y="181"/>
                    <a:pt x="769" y="177"/>
                  </a:cubicBezTo>
                  <a:cubicBezTo>
                    <a:pt x="769" y="177"/>
                    <a:pt x="769" y="176"/>
                    <a:pt x="768" y="176"/>
                  </a:cubicBezTo>
                  <a:cubicBezTo>
                    <a:pt x="767" y="173"/>
                    <a:pt x="764" y="169"/>
                    <a:pt x="759" y="169"/>
                  </a:cubicBezTo>
                  <a:cubicBezTo>
                    <a:pt x="754" y="170"/>
                    <a:pt x="756" y="177"/>
                    <a:pt x="761" y="180"/>
                  </a:cubicBezTo>
                  <a:close/>
                  <a:moveTo>
                    <a:pt x="428" y="32"/>
                  </a:moveTo>
                  <a:cubicBezTo>
                    <a:pt x="428" y="32"/>
                    <a:pt x="432" y="31"/>
                    <a:pt x="435" y="29"/>
                  </a:cubicBezTo>
                  <a:cubicBezTo>
                    <a:pt x="438" y="27"/>
                    <a:pt x="439" y="25"/>
                    <a:pt x="438" y="25"/>
                  </a:cubicBezTo>
                  <a:cubicBezTo>
                    <a:pt x="438" y="25"/>
                    <a:pt x="438" y="25"/>
                    <a:pt x="438" y="25"/>
                  </a:cubicBezTo>
                  <a:cubicBezTo>
                    <a:pt x="434" y="26"/>
                    <a:pt x="426" y="30"/>
                    <a:pt x="428" y="32"/>
                  </a:cubicBezTo>
                  <a:close/>
                  <a:moveTo>
                    <a:pt x="670" y="236"/>
                  </a:moveTo>
                  <a:cubicBezTo>
                    <a:pt x="664" y="237"/>
                    <a:pt x="663" y="245"/>
                    <a:pt x="668" y="248"/>
                  </a:cubicBezTo>
                  <a:cubicBezTo>
                    <a:pt x="673" y="252"/>
                    <a:pt x="679" y="249"/>
                    <a:pt x="679" y="244"/>
                  </a:cubicBezTo>
                  <a:cubicBezTo>
                    <a:pt x="679" y="240"/>
                    <a:pt x="676" y="236"/>
                    <a:pt x="670" y="236"/>
                  </a:cubicBezTo>
                  <a:close/>
                  <a:moveTo>
                    <a:pt x="924" y="306"/>
                  </a:moveTo>
                  <a:cubicBezTo>
                    <a:pt x="928" y="308"/>
                    <a:pt x="931" y="306"/>
                    <a:pt x="930" y="300"/>
                  </a:cubicBezTo>
                  <a:cubicBezTo>
                    <a:pt x="930" y="300"/>
                    <a:pt x="930" y="300"/>
                    <a:pt x="929" y="300"/>
                  </a:cubicBezTo>
                  <a:cubicBezTo>
                    <a:pt x="928" y="296"/>
                    <a:pt x="925" y="291"/>
                    <a:pt x="921" y="291"/>
                  </a:cubicBezTo>
                  <a:cubicBezTo>
                    <a:pt x="916" y="293"/>
                    <a:pt x="919" y="302"/>
                    <a:pt x="924" y="306"/>
                  </a:cubicBezTo>
                  <a:close/>
                  <a:moveTo>
                    <a:pt x="654" y="272"/>
                  </a:moveTo>
                  <a:cubicBezTo>
                    <a:pt x="647" y="273"/>
                    <a:pt x="646" y="282"/>
                    <a:pt x="651" y="286"/>
                  </a:cubicBezTo>
                  <a:cubicBezTo>
                    <a:pt x="656" y="289"/>
                    <a:pt x="663" y="286"/>
                    <a:pt x="663" y="281"/>
                  </a:cubicBezTo>
                  <a:cubicBezTo>
                    <a:pt x="663" y="277"/>
                    <a:pt x="660" y="272"/>
                    <a:pt x="654" y="272"/>
                  </a:cubicBezTo>
                  <a:close/>
                  <a:moveTo>
                    <a:pt x="667" y="218"/>
                  </a:moveTo>
                  <a:cubicBezTo>
                    <a:pt x="661" y="219"/>
                    <a:pt x="661" y="227"/>
                    <a:pt x="666" y="231"/>
                  </a:cubicBezTo>
                  <a:cubicBezTo>
                    <a:pt x="670" y="234"/>
                    <a:pt x="677" y="231"/>
                    <a:pt x="676" y="226"/>
                  </a:cubicBezTo>
                  <a:cubicBezTo>
                    <a:pt x="676" y="223"/>
                    <a:pt x="673" y="218"/>
                    <a:pt x="667" y="218"/>
                  </a:cubicBezTo>
                  <a:close/>
                  <a:moveTo>
                    <a:pt x="440" y="24"/>
                  </a:moveTo>
                  <a:cubicBezTo>
                    <a:pt x="440" y="24"/>
                    <a:pt x="444" y="23"/>
                    <a:pt x="447" y="21"/>
                  </a:cubicBezTo>
                  <a:cubicBezTo>
                    <a:pt x="450" y="20"/>
                    <a:pt x="452" y="18"/>
                    <a:pt x="451" y="18"/>
                  </a:cubicBezTo>
                  <a:cubicBezTo>
                    <a:pt x="451" y="18"/>
                    <a:pt x="450" y="18"/>
                    <a:pt x="450" y="18"/>
                  </a:cubicBezTo>
                  <a:cubicBezTo>
                    <a:pt x="447" y="18"/>
                    <a:pt x="439" y="23"/>
                    <a:pt x="440" y="24"/>
                  </a:cubicBezTo>
                  <a:close/>
                  <a:moveTo>
                    <a:pt x="463" y="18"/>
                  </a:moveTo>
                  <a:cubicBezTo>
                    <a:pt x="459" y="18"/>
                    <a:pt x="453" y="23"/>
                    <a:pt x="454" y="24"/>
                  </a:cubicBezTo>
                  <a:cubicBezTo>
                    <a:pt x="455" y="24"/>
                    <a:pt x="458" y="23"/>
                    <a:pt x="461" y="21"/>
                  </a:cubicBezTo>
                  <a:cubicBezTo>
                    <a:pt x="463" y="19"/>
                    <a:pt x="464" y="18"/>
                    <a:pt x="463" y="18"/>
                  </a:cubicBezTo>
                  <a:cubicBezTo>
                    <a:pt x="463" y="18"/>
                    <a:pt x="463" y="18"/>
                    <a:pt x="463" y="18"/>
                  </a:cubicBezTo>
                  <a:close/>
                  <a:moveTo>
                    <a:pt x="466" y="29"/>
                  </a:moveTo>
                  <a:cubicBezTo>
                    <a:pt x="468" y="27"/>
                    <a:pt x="469" y="25"/>
                    <a:pt x="468" y="25"/>
                  </a:cubicBezTo>
                  <a:cubicBezTo>
                    <a:pt x="467" y="25"/>
                    <a:pt x="467" y="25"/>
                    <a:pt x="467" y="25"/>
                  </a:cubicBezTo>
                  <a:cubicBezTo>
                    <a:pt x="463" y="26"/>
                    <a:pt x="458" y="31"/>
                    <a:pt x="459" y="32"/>
                  </a:cubicBezTo>
                  <a:cubicBezTo>
                    <a:pt x="460" y="32"/>
                    <a:pt x="464" y="31"/>
                    <a:pt x="466" y="29"/>
                  </a:cubicBezTo>
                  <a:close/>
                  <a:moveTo>
                    <a:pt x="457" y="37"/>
                  </a:moveTo>
                  <a:cubicBezTo>
                    <a:pt x="459" y="35"/>
                    <a:pt x="460" y="33"/>
                    <a:pt x="458" y="33"/>
                  </a:cubicBezTo>
                  <a:cubicBezTo>
                    <a:pt x="458" y="33"/>
                    <a:pt x="458" y="33"/>
                    <a:pt x="458" y="33"/>
                  </a:cubicBezTo>
                  <a:cubicBezTo>
                    <a:pt x="453" y="34"/>
                    <a:pt x="448" y="39"/>
                    <a:pt x="450" y="40"/>
                  </a:cubicBezTo>
                  <a:cubicBezTo>
                    <a:pt x="451" y="41"/>
                    <a:pt x="454" y="40"/>
                    <a:pt x="457" y="37"/>
                  </a:cubicBezTo>
                  <a:close/>
                  <a:moveTo>
                    <a:pt x="457" y="18"/>
                  </a:moveTo>
                  <a:cubicBezTo>
                    <a:pt x="457" y="18"/>
                    <a:pt x="457" y="18"/>
                    <a:pt x="457" y="18"/>
                  </a:cubicBezTo>
                  <a:cubicBezTo>
                    <a:pt x="453" y="18"/>
                    <a:pt x="446" y="23"/>
                    <a:pt x="447" y="24"/>
                  </a:cubicBezTo>
                  <a:cubicBezTo>
                    <a:pt x="447" y="24"/>
                    <a:pt x="451" y="23"/>
                    <a:pt x="454" y="21"/>
                  </a:cubicBezTo>
                  <a:cubicBezTo>
                    <a:pt x="456" y="20"/>
                    <a:pt x="458" y="18"/>
                    <a:pt x="457" y="18"/>
                  </a:cubicBezTo>
                  <a:close/>
                  <a:moveTo>
                    <a:pt x="440" y="50"/>
                  </a:moveTo>
                  <a:cubicBezTo>
                    <a:pt x="442" y="51"/>
                    <a:pt x="446" y="49"/>
                    <a:pt x="448" y="47"/>
                  </a:cubicBezTo>
                  <a:cubicBezTo>
                    <a:pt x="450" y="44"/>
                    <a:pt x="451" y="42"/>
                    <a:pt x="449" y="42"/>
                  </a:cubicBezTo>
                  <a:cubicBezTo>
                    <a:pt x="449" y="42"/>
                    <a:pt x="448" y="42"/>
                    <a:pt x="448" y="42"/>
                  </a:cubicBezTo>
                  <a:cubicBezTo>
                    <a:pt x="444" y="43"/>
                    <a:pt x="439" y="48"/>
                    <a:pt x="440" y="50"/>
                  </a:cubicBezTo>
                  <a:close/>
                  <a:moveTo>
                    <a:pt x="464" y="11"/>
                  </a:moveTo>
                  <a:cubicBezTo>
                    <a:pt x="463" y="11"/>
                    <a:pt x="463" y="11"/>
                    <a:pt x="463" y="11"/>
                  </a:cubicBezTo>
                  <a:cubicBezTo>
                    <a:pt x="460" y="12"/>
                    <a:pt x="452" y="16"/>
                    <a:pt x="453" y="16"/>
                  </a:cubicBezTo>
                  <a:cubicBezTo>
                    <a:pt x="453" y="17"/>
                    <a:pt x="456" y="16"/>
                    <a:pt x="460" y="14"/>
                  </a:cubicBezTo>
                  <a:cubicBezTo>
                    <a:pt x="462" y="13"/>
                    <a:pt x="464" y="12"/>
                    <a:pt x="464" y="11"/>
                  </a:cubicBezTo>
                  <a:close/>
                  <a:moveTo>
                    <a:pt x="448" y="37"/>
                  </a:moveTo>
                  <a:cubicBezTo>
                    <a:pt x="450" y="35"/>
                    <a:pt x="451" y="34"/>
                    <a:pt x="450" y="33"/>
                  </a:cubicBezTo>
                  <a:cubicBezTo>
                    <a:pt x="450" y="33"/>
                    <a:pt x="449" y="33"/>
                    <a:pt x="449" y="33"/>
                  </a:cubicBezTo>
                  <a:cubicBezTo>
                    <a:pt x="445" y="34"/>
                    <a:pt x="439" y="39"/>
                    <a:pt x="441" y="40"/>
                  </a:cubicBezTo>
                  <a:cubicBezTo>
                    <a:pt x="442" y="41"/>
                    <a:pt x="445" y="39"/>
                    <a:pt x="448" y="37"/>
                  </a:cubicBezTo>
                  <a:close/>
                  <a:moveTo>
                    <a:pt x="767" y="248"/>
                  </a:moveTo>
                  <a:cubicBezTo>
                    <a:pt x="772" y="252"/>
                    <a:pt x="777" y="250"/>
                    <a:pt x="776" y="244"/>
                  </a:cubicBezTo>
                  <a:cubicBezTo>
                    <a:pt x="776" y="244"/>
                    <a:pt x="776" y="244"/>
                    <a:pt x="776" y="244"/>
                  </a:cubicBezTo>
                  <a:cubicBezTo>
                    <a:pt x="775" y="240"/>
                    <a:pt x="772" y="236"/>
                    <a:pt x="767" y="236"/>
                  </a:cubicBezTo>
                  <a:cubicBezTo>
                    <a:pt x="761" y="237"/>
                    <a:pt x="762" y="245"/>
                    <a:pt x="767" y="248"/>
                  </a:cubicBezTo>
                  <a:close/>
                  <a:moveTo>
                    <a:pt x="782" y="209"/>
                  </a:moveTo>
                  <a:cubicBezTo>
                    <a:pt x="781" y="205"/>
                    <a:pt x="777" y="201"/>
                    <a:pt x="773" y="201"/>
                  </a:cubicBezTo>
                  <a:cubicBezTo>
                    <a:pt x="767" y="202"/>
                    <a:pt x="769" y="210"/>
                    <a:pt x="774" y="213"/>
                  </a:cubicBezTo>
                  <a:cubicBezTo>
                    <a:pt x="778" y="216"/>
                    <a:pt x="783" y="214"/>
                    <a:pt x="782" y="209"/>
                  </a:cubicBezTo>
                  <a:cubicBezTo>
                    <a:pt x="782" y="209"/>
                    <a:pt x="782" y="209"/>
                    <a:pt x="782" y="209"/>
                  </a:cubicBezTo>
                  <a:close/>
                  <a:moveTo>
                    <a:pt x="458" y="11"/>
                  </a:moveTo>
                  <a:cubicBezTo>
                    <a:pt x="454" y="12"/>
                    <a:pt x="446" y="16"/>
                    <a:pt x="447" y="16"/>
                  </a:cubicBezTo>
                  <a:cubicBezTo>
                    <a:pt x="447" y="17"/>
                    <a:pt x="450" y="16"/>
                    <a:pt x="454" y="14"/>
                  </a:cubicBezTo>
                  <a:cubicBezTo>
                    <a:pt x="456" y="13"/>
                    <a:pt x="459" y="11"/>
                    <a:pt x="458" y="11"/>
                  </a:cubicBezTo>
                  <a:cubicBezTo>
                    <a:pt x="458" y="11"/>
                    <a:pt x="458" y="11"/>
                    <a:pt x="458" y="11"/>
                  </a:cubicBezTo>
                  <a:close/>
                  <a:moveTo>
                    <a:pt x="197" y="165"/>
                  </a:moveTo>
                  <a:cubicBezTo>
                    <a:pt x="198" y="166"/>
                    <a:pt x="201" y="164"/>
                    <a:pt x="205" y="160"/>
                  </a:cubicBezTo>
                  <a:cubicBezTo>
                    <a:pt x="208" y="156"/>
                    <a:pt x="209" y="153"/>
                    <a:pt x="208" y="153"/>
                  </a:cubicBezTo>
                  <a:cubicBezTo>
                    <a:pt x="208" y="153"/>
                    <a:pt x="207" y="153"/>
                    <a:pt x="207" y="153"/>
                  </a:cubicBezTo>
                  <a:cubicBezTo>
                    <a:pt x="203" y="155"/>
                    <a:pt x="195" y="164"/>
                    <a:pt x="197" y="165"/>
                  </a:cubicBezTo>
                  <a:close/>
                  <a:moveTo>
                    <a:pt x="1014" y="236"/>
                  </a:moveTo>
                  <a:cubicBezTo>
                    <a:pt x="1014" y="237"/>
                    <a:pt x="1015" y="240"/>
                    <a:pt x="1018" y="244"/>
                  </a:cubicBezTo>
                  <a:cubicBezTo>
                    <a:pt x="1020" y="247"/>
                    <a:pt x="1023" y="250"/>
                    <a:pt x="1024" y="250"/>
                  </a:cubicBezTo>
                  <a:cubicBezTo>
                    <a:pt x="1024" y="250"/>
                    <a:pt x="1023" y="247"/>
                    <a:pt x="1021" y="244"/>
                  </a:cubicBezTo>
                  <a:cubicBezTo>
                    <a:pt x="1019" y="240"/>
                    <a:pt x="1016" y="236"/>
                    <a:pt x="1014" y="236"/>
                  </a:cubicBezTo>
                  <a:close/>
                  <a:moveTo>
                    <a:pt x="1002" y="218"/>
                  </a:moveTo>
                  <a:cubicBezTo>
                    <a:pt x="1001" y="220"/>
                    <a:pt x="1011" y="232"/>
                    <a:pt x="1012" y="232"/>
                  </a:cubicBezTo>
                  <a:cubicBezTo>
                    <a:pt x="1013" y="232"/>
                    <a:pt x="1012" y="229"/>
                    <a:pt x="1009" y="226"/>
                  </a:cubicBezTo>
                  <a:cubicBezTo>
                    <a:pt x="1007" y="223"/>
                    <a:pt x="1003" y="218"/>
                    <a:pt x="1002" y="218"/>
                  </a:cubicBezTo>
                  <a:close/>
                  <a:moveTo>
                    <a:pt x="1009" y="236"/>
                  </a:moveTo>
                  <a:cubicBezTo>
                    <a:pt x="1008" y="237"/>
                    <a:pt x="1009" y="240"/>
                    <a:pt x="1012" y="244"/>
                  </a:cubicBezTo>
                  <a:cubicBezTo>
                    <a:pt x="1014" y="247"/>
                    <a:pt x="1017" y="250"/>
                    <a:pt x="1018" y="250"/>
                  </a:cubicBezTo>
                  <a:cubicBezTo>
                    <a:pt x="1019" y="250"/>
                    <a:pt x="1018" y="247"/>
                    <a:pt x="1016" y="244"/>
                  </a:cubicBezTo>
                  <a:cubicBezTo>
                    <a:pt x="1014" y="240"/>
                    <a:pt x="1010" y="236"/>
                    <a:pt x="1009" y="236"/>
                  </a:cubicBezTo>
                  <a:close/>
                  <a:moveTo>
                    <a:pt x="888" y="150"/>
                  </a:moveTo>
                  <a:cubicBezTo>
                    <a:pt x="890" y="151"/>
                    <a:pt x="891" y="150"/>
                    <a:pt x="890" y="148"/>
                  </a:cubicBezTo>
                  <a:cubicBezTo>
                    <a:pt x="890" y="148"/>
                    <a:pt x="889" y="146"/>
                    <a:pt x="888" y="145"/>
                  </a:cubicBezTo>
                  <a:cubicBezTo>
                    <a:pt x="886" y="142"/>
                    <a:pt x="881" y="138"/>
                    <a:pt x="879" y="139"/>
                  </a:cubicBezTo>
                  <a:cubicBezTo>
                    <a:pt x="876" y="140"/>
                    <a:pt x="883" y="148"/>
                    <a:pt x="888" y="150"/>
                  </a:cubicBezTo>
                  <a:close/>
                  <a:moveTo>
                    <a:pt x="184" y="181"/>
                  </a:moveTo>
                  <a:cubicBezTo>
                    <a:pt x="185" y="182"/>
                    <a:pt x="189" y="179"/>
                    <a:pt x="192" y="176"/>
                  </a:cubicBezTo>
                  <a:cubicBezTo>
                    <a:pt x="195" y="172"/>
                    <a:pt x="196" y="169"/>
                    <a:pt x="194" y="169"/>
                  </a:cubicBezTo>
                  <a:cubicBezTo>
                    <a:pt x="194" y="169"/>
                    <a:pt x="194" y="169"/>
                    <a:pt x="194" y="169"/>
                  </a:cubicBezTo>
                  <a:cubicBezTo>
                    <a:pt x="189" y="170"/>
                    <a:pt x="182" y="180"/>
                    <a:pt x="184" y="181"/>
                  </a:cubicBezTo>
                  <a:close/>
                  <a:moveTo>
                    <a:pt x="203" y="169"/>
                  </a:moveTo>
                  <a:cubicBezTo>
                    <a:pt x="198" y="170"/>
                    <a:pt x="191" y="180"/>
                    <a:pt x="193" y="181"/>
                  </a:cubicBezTo>
                  <a:cubicBezTo>
                    <a:pt x="194" y="182"/>
                    <a:pt x="198" y="179"/>
                    <a:pt x="201" y="176"/>
                  </a:cubicBezTo>
                  <a:cubicBezTo>
                    <a:pt x="203" y="173"/>
                    <a:pt x="205" y="169"/>
                    <a:pt x="203" y="169"/>
                  </a:cubicBezTo>
                  <a:close/>
                  <a:moveTo>
                    <a:pt x="197" y="160"/>
                  </a:moveTo>
                  <a:cubicBezTo>
                    <a:pt x="200" y="156"/>
                    <a:pt x="201" y="153"/>
                    <a:pt x="200" y="153"/>
                  </a:cubicBezTo>
                  <a:cubicBezTo>
                    <a:pt x="200" y="153"/>
                    <a:pt x="200" y="153"/>
                    <a:pt x="200" y="153"/>
                  </a:cubicBezTo>
                  <a:cubicBezTo>
                    <a:pt x="195" y="155"/>
                    <a:pt x="187" y="164"/>
                    <a:pt x="189" y="165"/>
                  </a:cubicBezTo>
                  <a:cubicBezTo>
                    <a:pt x="190" y="166"/>
                    <a:pt x="193" y="164"/>
                    <a:pt x="197" y="160"/>
                  </a:cubicBezTo>
                  <a:close/>
                  <a:moveTo>
                    <a:pt x="201" y="139"/>
                  </a:moveTo>
                  <a:cubicBezTo>
                    <a:pt x="201" y="139"/>
                    <a:pt x="201" y="139"/>
                    <a:pt x="201" y="139"/>
                  </a:cubicBezTo>
                  <a:cubicBezTo>
                    <a:pt x="197" y="140"/>
                    <a:pt x="188" y="150"/>
                    <a:pt x="189" y="150"/>
                  </a:cubicBezTo>
                  <a:cubicBezTo>
                    <a:pt x="190" y="151"/>
                    <a:pt x="194" y="148"/>
                    <a:pt x="197" y="145"/>
                  </a:cubicBezTo>
                  <a:cubicBezTo>
                    <a:pt x="200" y="142"/>
                    <a:pt x="202" y="139"/>
                    <a:pt x="201" y="139"/>
                  </a:cubicBezTo>
                  <a:close/>
                  <a:moveTo>
                    <a:pt x="125" y="232"/>
                  </a:moveTo>
                  <a:cubicBezTo>
                    <a:pt x="126" y="233"/>
                    <a:pt x="129" y="230"/>
                    <a:pt x="132" y="226"/>
                  </a:cubicBezTo>
                  <a:cubicBezTo>
                    <a:pt x="134" y="223"/>
                    <a:pt x="136" y="218"/>
                    <a:pt x="134" y="218"/>
                  </a:cubicBezTo>
                  <a:cubicBezTo>
                    <a:pt x="130" y="220"/>
                    <a:pt x="123" y="231"/>
                    <a:pt x="125" y="232"/>
                  </a:cubicBezTo>
                  <a:close/>
                  <a:moveTo>
                    <a:pt x="159" y="185"/>
                  </a:moveTo>
                  <a:cubicBezTo>
                    <a:pt x="159" y="185"/>
                    <a:pt x="159" y="185"/>
                    <a:pt x="159" y="185"/>
                  </a:cubicBezTo>
                  <a:cubicBezTo>
                    <a:pt x="155" y="186"/>
                    <a:pt x="147" y="197"/>
                    <a:pt x="149" y="198"/>
                  </a:cubicBezTo>
                  <a:cubicBezTo>
                    <a:pt x="150" y="198"/>
                    <a:pt x="153" y="196"/>
                    <a:pt x="156" y="192"/>
                  </a:cubicBezTo>
                  <a:cubicBezTo>
                    <a:pt x="159" y="188"/>
                    <a:pt x="161" y="185"/>
                    <a:pt x="159" y="185"/>
                  </a:cubicBezTo>
                  <a:close/>
                  <a:moveTo>
                    <a:pt x="913" y="145"/>
                  </a:moveTo>
                  <a:cubicBezTo>
                    <a:pt x="911" y="142"/>
                    <a:pt x="906" y="138"/>
                    <a:pt x="904" y="139"/>
                  </a:cubicBezTo>
                  <a:cubicBezTo>
                    <a:pt x="902" y="140"/>
                    <a:pt x="911" y="149"/>
                    <a:pt x="915" y="150"/>
                  </a:cubicBezTo>
                  <a:cubicBezTo>
                    <a:pt x="916" y="151"/>
                    <a:pt x="916" y="150"/>
                    <a:pt x="916" y="148"/>
                  </a:cubicBezTo>
                  <a:cubicBezTo>
                    <a:pt x="915" y="148"/>
                    <a:pt x="914" y="146"/>
                    <a:pt x="913" y="145"/>
                  </a:cubicBezTo>
                  <a:close/>
                  <a:moveTo>
                    <a:pt x="897" y="150"/>
                  </a:moveTo>
                  <a:cubicBezTo>
                    <a:pt x="899" y="151"/>
                    <a:pt x="900" y="150"/>
                    <a:pt x="899" y="149"/>
                  </a:cubicBezTo>
                  <a:cubicBezTo>
                    <a:pt x="899" y="148"/>
                    <a:pt x="899" y="147"/>
                    <a:pt x="897" y="145"/>
                  </a:cubicBezTo>
                  <a:cubicBezTo>
                    <a:pt x="895" y="142"/>
                    <a:pt x="890" y="138"/>
                    <a:pt x="888" y="139"/>
                  </a:cubicBezTo>
                  <a:cubicBezTo>
                    <a:pt x="885" y="140"/>
                    <a:pt x="893" y="148"/>
                    <a:pt x="897" y="150"/>
                  </a:cubicBezTo>
                  <a:close/>
                  <a:moveTo>
                    <a:pt x="906" y="150"/>
                  </a:moveTo>
                  <a:cubicBezTo>
                    <a:pt x="908" y="151"/>
                    <a:pt x="909" y="150"/>
                    <a:pt x="908" y="149"/>
                  </a:cubicBezTo>
                  <a:cubicBezTo>
                    <a:pt x="908" y="148"/>
                    <a:pt x="907" y="147"/>
                    <a:pt x="905" y="145"/>
                  </a:cubicBezTo>
                  <a:cubicBezTo>
                    <a:pt x="903" y="142"/>
                    <a:pt x="898" y="138"/>
                    <a:pt x="896" y="139"/>
                  </a:cubicBezTo>
                  <a:cubicBezTo>
                    <a:pt x="894" y="140"/>
                    <a:pt x="902" y="148"/>
                    <a:pt x="906" y="150"/>
                  </a:cubicBezTo>
                  <a:close/>
                  <a:moveTo>
                    <a:pt x="153" y="185"/>
                  </a:moveTo>
                  <a:cubicBezTo>
                    <a:pt x="153" y="185"/>
                    <a:pt x="153" y="185"/>
                    <a:pt x="153" y="185"/>
                  </a:cubicBezTo>
                  <a:cubicBezTo>
                    <a:pt x="149" y="186"/>
                    <a:pt x="141" y="197"/>
                    <a:pt x="143" y="198"/>
                  </a:cubicBezTo>
                  <a:cubicBezTo>
                    <a:pt x="144" y="198"/>
                    <a:pt x="147" y="196"/>
                    <a:pt x="150" y="192"/>
                  </a:cubicBezTo>
                  <a:cubicBezTo>
                    <a:pt x="153" y="188"/>
                    <a:pt x="155" y="185"/>
                    <a:pt x="153" y="185"/>
                  </a:cubicBezTo>
                  <a:close/>
                  <a:moveTo>
                    <a:pt x="125" y="215"/>
                  </a:moveTo>
                  <a:cubicBezTo>
                    <a:pt x="126" y="215"/>
                    <a:pt x="128" y="212"/>
                    <a:pt x="131" y="209"/>
                  </a:cubicBezTo>
                  <a:cubicBezTo>
                    <a:pt x="134" y="205"/>
                    <a:pt x="136" y="201"/>
                    <a:pt x="135" y="201"/>
                  </a:cubicBezTo>
                  <a:cubicBezTo>
                    <a:pt x="135" y="201"/>
                    <a:pt x="135" y="201"/>
                    <a:pt x="135" y="201"/>
                  </a:cubicBezTo>
                  <a:cubicBezTo>
                    <a:pt x="131" y="203"/>
                    <a:pt x="124" y="214"/>
                    <a:pt x="125" y="215"/>
                  </a:cubicBezTo>
                  <a:close/>
                  <a:moveTo>
                    <a:pt x="129" y="198"/>
                  </a:moveTo>
                  <a:cubicBezTo>
                    <a:pt x="130" y="198"/>
                    <a:pt x="134" y="194"/>
                    <a:pt x="135" y="192"/>
                  </a:cubicBezTo>
                  <a:cubicBezTo>
                    <a:pt x="137" y="190"/>
                    <a:pt x="141" y="186"/>
                    <a:pt x="140" y="185"/>
                  </a:cubicBezTo>
                  <a:cubicBezTo>
                    <a:pt x="140" y="185"/>
                    <a:pt x="140" y="185"/>
                    <a:pt x="140" y="185"/>
                  </a:cubicBezTo>
                  <a:cubicBezTo>
                    <a:pt x="138" y="186"/>
                    <a:pt x="129" y="197"/>
                    <a:pt x="129" y="198"/>
                  </a:cubicBezTo>
                  <a:close/>
                  <a:moveTo>
                    <a:pt x="148" y="185"/>
                  </a:moveTo>
                  <a:cubicBezTo>
                    <a:pt x="144" y="186"/>
                    <a:pt x="136" y="197"/>
                    <a:pt x="138" y="198"/>
                  </a:cubicBezTo>
                  <a:cubicBezTo>
                    <a:pt x="138" y="198"/>
                    <a:pt x="141" y="196"/>
                    <a:pt x="144" y="192"/>
                  </a:cubicBezTo>
                  <a:cubicBezTo>
                    <a:pt x="147" y="188"/>
                    <a:pt x="149" y="185"/>
                    <a:pt x="148" y="185"/>
                  </a:cubicBezTo>
                  <a:cubicBezTo>
                    <a:pt x="148" y="185"/>
                    <a:pt x="148" y="185"/>
                    <a:pt x="148" y="185"/>
                  </a:cubicBezTo>
                  <a:close/>
                  <a:moveTo>
                    <a:pt x="910" y="153"/>
                  </a:moveTo>
                  <a:cubicBezTo>
                    <a:pt x="907" y="155"/>
                    <a:pt x="915" y="164"/>
                    <a:pt x="919" y="165"/>
                  </a:cubicBezTo>
                  <a:cubicBezTo>
                    <a:pt x="921" y="166"/>
                    <a:pt x="922" y="165"/>
                    <a:pt x="921" y="163"/>
                  </a:cubicBezTo>
                  <a:cubicBezTo>
                    <a:pt x="921" y="163"/>
                    <a:pt x="920" y="162"/>
                    <a:pt x="919" y="160"/>
                  </a:cubicBezTo>
                  <a:cubicBezTo>
                    <a:pt x="916" y="157"/>
                    <a:pt x="912" y="153"/>
                    <a:pt x="910" y="153"/>
                  </a:cubicBezTo>
                  <a:close/>
                  <a:moveTo>
                    <a:pt x="182" y="166"/>
                  </a:moveTo>
                  <a:cubicBezTo>
                    <a:pt x="183" y="166"/>
                    <a:pt x="186" y="163"/>
                    <a:pt x="189" y="160"/>
                  </a:cubicBezTo>
                  <a:cubicBezTo>
                    <a:pt x="193" y="156"/>
                    <a:pt x="194" y="153"/>
                    <a:pt x="193" y="153"/>
                  </a:cubicBezTo>
                  <a:cubicBezTo>
                    <a:pt x="193" y="153"/>
                    <a:pt x="193" y="153"/>
                    <a:pt x="193" y="153"/>
                  </a:cubicBezTo>
                  <a:cubicBezTo>
                    <a:pt x="188" y="155"/>
                    <a:pt x="180" y="165"/>
                    <a:pt x="182" y="166"/>
                  </a:cubicBezTo>
                  <a:close/>
                  <a:moveTo>
                    <a:pt x="935" y="185"/>
                  </a:moveTo>
                  <a:cubicBezTo>
                    <a:pt x="932" y="186"/>
                    <a:pt x="940" y="196"/>
                    <a:pt x="944" y="198"/>
                  </a:cubicBezTo>
                  <a:cubicBezTo>
                    <a:pt x="946" y="198"/>
                    <a:pt x="947" y="197"/>
                    <a:pt x="946" y="195"/>
                  </a:cubicBezTo>
                  <a:cubicBezTo>
                    <a:pt x="945" y="194"/>
                    <a:pt x="945" y="193"/>
                    <a:pt x="944" y="192"/>
                  </a:cubicBezTo>
                  <a:cubicBezTo>
                    <a:pt x="942" y="189"/>
                    <a:pt x="938" y="185"/>
                    <a:pt x="935" y="185"/>
                  </a:cubicBezTo>
                  <a:close/>
                  <a:moveTo>
                    <a:pt x="944" y="185"/>
                  </a:moveTo>
                  <a:cubicBezTo>
                    <a:pt x="941" y="186"/>
                    <a:pt x="950" y="197"/>
                    <a:pt x="953" y="198"/>
                  </a:cubicBezTo>
                  <a:cubicBezTo>
                    <a:pt x="955" y="198"/>
                    <a:pt x="955" y="197"/>
                    <a:pt x="954" y="194"/>
                  </a:cubicBezTo>
                  <a:cubicBezTo>
                    <a:pt x="954" y="194"/>
                    <a:pt x="953" y="193"/>
                    <a:pt x="953" y="192"/>
                  </a:cubicBezTo>
                  <a:cubicBezTo>
                    <a:pt x="950" y="189"/>
                    <a:pt x="946" y="185"/>
                    <a:pt x="944" y="185"/>
                  </a:cubicBezTo>
                  <a:close/>
                  <a:moveTo>
                    <a:pt x="956" y="201"/>
                  </a:moveTo>
                  <a:cubicBezTo>
                    <a:pt x="953" y="203"/>
                    <a:pt x="961" y="213"/>
                    <a:pt x="965" y="215"/>
                  </a:cubicBezTo>
                  <a:cubicBezTo>
                    <a:pt x="967" y="215"/>
                    <a:pt x="967" y="214"/>
                    <a:pt x="966" y="211"/>
                  </a:cubicBezTo>
                  <a:cubicBezTo>
                    <a:pt x="965" y="210"/>
                    <a:pt x="965" y="209"/>
                    <a:pt x="965" y="209"/>
                  </a:cubicBezTo>
                  <a:cubicBezTo>
                    <a:pt x="962" y="205"/>
                    <a:pt x="958" y="201"/>
                    <a:pt x="956" y="201"/>
                  </a:cubicBezTo>
                  <a:close/>
                  <a:moveTo>
                    <a:pt x="923" y="169"/>
                  </a:moveTo>
                  <a:cubicBezTo>
                    <a:pt x="920" y="170"/>
                    <a:pt x="928" y="179"/>
                    <a:pt x="932" y="181"/>
                  </a:cubicBezTo>
                  <a:cubicBezTo>
                    <a:pt x="934" y="182"/>
                    <a:pt x="934" y="181"/>
                    <a:pt x="934" y="179"/>
                  </a:cubicBezTo>
                  <a:cubicBezTo>
                    <a:pt x="933" y="178"/>
                    <a:pt x="933" y="177"/>
                    <a:pt x="932" y="176"/>
                  </a:cubicBezTo>
                  <a:cubicBezTo>
                    <a:pt x="929" y="173"/>
                    <a:pt x="925" y="169"/>
                    <a:pt x="923" y="169"/>
                  </a:cubicBezTo>
                  <a:close/>
                  <a:moveTo>
                    <a:pt x="940" y="176"/>
                  </a:moveTo>
                  <a:cubicBezTo>
                    <a:pt x="938" y="173"/>
                    <a:pt x="933" y="169"/>
                    <a:pt x="931" y="169"/>
                  </a:cubicBezTo>
                  <a:cubicBezTo>
                    <a:pt x="929" y="170"/>
                    <a:pt x="937" y="180"/>
                    <a:pt x="941" y="181"/>
                  </a:cubicBezTo>
                  <a:cubicBezTo>
                    <a:pt x="943" y="182"/>
                    <a:pt x="943" y="181"/>
                    <a:pt x="942" y="179"/>
                  </a:cubicBezTo>
                  <a:cubicBezTo>
                    <a:pt x="941" y="178"/>
                    <a:pt x="941" y="177"/>
                    <a:pt x="940" y="176"/>
                  </a:cubicBezTo>
                  <a:close/>
                  <a:moveTo>
                    <a:pt x="927" y="160"/>
                  </a:moveTo>
                  <a:cubicBezTo>
                    <a:pt x="924" y="157"/>
                    <a:pt x="920" y="153"/>
                    <a:pt x="918" y="153"/>
                  </a:cubicBezTo>
                  <a:cubicBezTo>
                    <a:pt x="916" y="155"/>
                    <a:pt x="925" y="164"/>
                    <a:pt x="928" y="165"/>
                  </a:cubicBezTo>
                  <a:cubicBezTo>
                    <a:pt x="930" y="166"/>
                    <a:pt x="930" y="165"/>
                    <a:pt x="929" y="163"/>
                  </a:cubicBezTo>
                  <a:cubicBezTo>
                    <a:pt x="929" y="163"/>
                    <a:pt x="928" y="162"/>
                    <a:pt x="927" y="160"/>
                  </a:cubicBezTo>
                  <a:close/>
                  <a:moveTo>
                    <a:pt x="117" y="215"/>
                  </a:moveTo>
                  <a:cubicBezTo>
                    <a:pt x="117" y="215"/>
                    <a:pt x="121" y="211"/>
                    <a:pt x="122" y="209"/>
                  </a:cubicBezTo>
                  <a:cubicBezTo>
                    <a:pt x="124" y="207"/>
                    <a:pt x="127" y="202"/>
                    <a:pt x="127" y="201"/>
                  </a:cubicBezTo>
                  <a:cubicBezTo>
                    <a:pt x="127" y="201"/>
                    <a:pt x="127" y="201"/>
                    <a:pt x="127" y="201"/>
                  </a:cubicBezTo>
                  <a:cubicBezTo>
                    <a:pt x="124" y="203"/>
                    <a:pt x="116" y="213"/>
                    <a:pt x="117" y="215"/>
                  </a:cubicBezTo>
                  <a:close/>
                  <a:moveTo>
                    <a:pt x="941" y="160"/>
                  </a:moveTo>
                  <a:cubicBezTo>
                    <a:pt x="938" y="157"/>
                    <a:pt x="934" y="153"/>
                    <a:pt x="932" y="153"/>
                  </a:cubicBezTo>
                  <a:cubicBezTo>
                    <a:pt x="930" y="155"/>
                    <a:pt x="941" y="165"/>
                    <a:pt x="943" y="166"/>
                  </a:cubicBezTo>
                  <a:cubicBezTo>
                    <a:pt x="944" y="166"/>
                    <a:pt x="944" y="165"/>
                    <a:pt x="943" y="163"/>
                  </a:cubicBezTo>
                  <a:cubicBezTo>
                    <a:pt x="942" y="162"/>
                    <a:pt x="942" y="161"/>
                    <a:pt x="941" y="160"/>
                  </a:cubicBezTo>
                  <a:close/>
                  <a:moveTo>
                    <a:pt x="973" y="209"/>
                  </a:moveTo>
                  <a:cubicBezTo>
                    <a:pt x="970" y="205"/>
                    <a:pt x="966" y="201"/>
                    <a:pt x="964" y="201"/>
                  </a:cubicBezTo>
                  <a:cubicBezTo>
                    <a:pt x="962" y="203"/>
                    <a:pt x="970" y="213"/>
                    <a:pt x="973" y="215"/>
                  </a:cubicBezTo>
                  <a:cubicBezTo>
                    <a:pt x="975" y="215"/>
                    <a:pt x="975" y="214"/>
                    <a:pt x="974" y="211"/>
                  </a:cubicBezTo>
                  <a:cubicBezTo>
                    <a:pt x="974" y="210"/>
                    <a:pt x="973" y="210"/>
                    <a:pt x="973" y="209"/>
                  </a:cubicBezTo>
                  <a:close/>
                  <a:moveTo>
                    <a:pt x="925" y="153"/>
                  </a:moveTo>
                  <a:cubicBezTo>
                    <a:pt x="923" y="155"/>
                    <a:pt x="933" y="165"/>
                    <a:pt x="936" y="166"/>
                  </a:cubicBezTo>
                  <a:cubicBezTo>
                    <a:pt x="937" y="166"/>
                    <a:pt x="937" y="165"/>
                    <a:pt x="936" y="162"/>
                  </a:cubicBezTo>
                  <a:cubicBezTo>
                    <a:pt x="935" y="162"/>
                    <a:pt x="935" y="161"/>
                    <a:pt x="934" y="160"/>
                  </a:cubicBezTo>
                  <a:cubicBezTo>
                    <a:pt x="932" y="157"/>
                    <a:pt x="927" y="153"/>
                    <a:pt x="925" y="153"/>
                  </a:cubicBezTo>
                  <a:close/>
                  <a:moveTo>
                    <a:pt x="923" y="150"/>
                  </a:moveTo>
                  <a:cubicBezTo>
                    <a:pt x="924" y="150"/>
                    <a:pt x="924" y="149"/>
                    <a:pt x="922" y="148"/>
                  </a:cubicBezTo>
                  <a:cubicBezTo>
                    <a:pt x="922" y="147"/>
                    <a:pt x="921" y="146"/>
                    <a:pt x="920" y="145"/>
                  </a:cubicBezTo>
                  <a:cubicBezTo>
                    <a:pt x="918" y="142"/>
                    <a:pt x="913" y="138"/>
                    <a:pt x="911" y="139"/>
                  </a:cubicBezTo>
                  <a:cubicBezTo>
                    <a:pt x="909" y="140"/>
                    <a:pt x="920" y="150"/>
                    <a:pt x="923" y="150"/>
                  </a:cubicBezTo>
                  <a:close/>
                  <a:moveTo>
                    <a:pt x="108" y="232"/>
                  </a:moveTo>
                  <a:cubicBezTo>
                    <a:pt x="109" y="233"/>
                    <a:pt x="111" y="230"/>
                    <a:pt x="114" y="226"/>
                  </a:cubicBezTo>
                  <a:cubicBezTo>
                    <a:pt x="117" y="222"/>
                    <a:pt x="119" y="218"/>
                    <a:pt x="118" y="218"/>
                  </a:cubicBezTo>
                  <a:cubicBezTo>
                    <a:pt x="118" y="218"/>
                    <a:pt x="118" y="218"/>
                    <a:pt x="118" y="218"/>
                  </a:cubicBezTo>
                  <a:cubicBezTo>
                    <a:pt x="114" y="220"/>
                    <a:pt x="107" y="231"/>
                    <a:pt x="108" y="232"/>
                  </a:cubicBezTo>
                  <a:close/>
                  <a:moveTo>
                    <a:pt x="939" y="169"/>
                  </a:moveTo>
                  <a:cubicBezTo>
                    <a:pt x="937" y="170"/>
                    <a:pt x="946" y="180"/>
                    <a:pt x="949" y="181"/>
                  </a:cubicBezTo>
                  <a:cubicBezTo>
                    <a:pt x="950" y="182"/>
                    <a:pt x="951" y="181"/>
                    <a:pt x="950" y="179"/>
                  </a:cubicBezTo>
                  <a:cubicBezTo>
                    <a:pt x="949" y="178"/>
                    <a:pt x="949" y="177"/>
                    <a:pt x="948" y="176"/>
                  </a:cubicBezTo>
                  <a:cubicBezTo>
                    <a:pt x="945" y="173"/>
                    <a:pt x="941" y="169"/>
                    <a:pt x="939" y="169"/>
                  </a:cubicBezTo>
                  <a:close/>
                  <a:moveTo>
                    <a:pt x="961" y="176"/>
                  </a:moveTo>
                  <a:cubicBezTo>
                    <a:pt x="958" y="173"/>
                    <a:pt x="954" y="169"/>
                    <a:pt x="952" y="169"/>
                  </a:cubicBezTo>
                  <a:cubicBezTo>
                    <a:pt x="951" y="170"/>
                    <a:pt x="961" y="181"/>
                    <a:pt x="963" y="181"/>
                  </a:cubicBezTo>
                  <a:cubicBezTo>
                    <a:pt x="964" y="182"/>
                    <a:pt x="964" y="181"/>
                    <a:pt x="963" y="179"/>
                  </a:cubicBezTo>
                  <a:cubicBezTo>
                    <a:pt x="962" y="178"/>
                    <a:pt x="961" y="177"/>
                    <a:pt x="961" y="176"/>
                  </a:cubicBezTo>
                  <a:close/>
                  <a:moveTo>
                    <a:pt x="946" y="169"/>
                  </a:moveTo>
                  <a:cubicBezTo>
                    <a:pt x="944" y="170"/>
                    <a:pt x="954" y="181"/>
                    <a:pt x="957" y="181"/>
                  </a:cubicBezTo>
                  <a:cubicBezTo>
                    <a:pt x="958" y="182"/>
                    <a:pt x="958" y="180"/>
                    <a:pt x="956" y="178"/>
                  </a:cubicBezTo>
                  <a:cubicBezTo>
                    <a:pt x="956" y="178"/>
                    <a:pt x="955" y="177"/>
                    <a:pt x="954" y="176"/>
                  </a:cubicBezTo>
                  <a:cubicBezTo>
                    <a:pt x="952" y="173"/>
                    <a:pt x="948" y="169"/>
                    <a:pt x="946" y="169"/>
                  </a:cubicBezTo>
                  <a:close/>
                  <a:moveTo>
                    <a:pt x="959" y="185"/>
                  </a:moveTo>
                  <a:cubicBezTo>
                    <a:pt x="957" y="186"/>
                    <a:pt x="967" y="197"/>
                    <a:pt x="969" y="198"/>
                  </a:cubicBezTo>
                  <a:cubicBezTo>
                    <a:pt x="971" y="198"/>
                    <a:pt x="970" y="196"/>
                    <a:pt x="968" y="193"/>
                  </a:cubicBezTo>
                  <a:cubicBezTo>
                    <a:pt x="968" y="193"/>
                    <a:pt x="968" y="192"/>
                    <a:pt x="967" y="192"/>
                  </a:cubicBezTo>
                  <a:cubicBezTo>
                    <a:pt x="965" y="189"/>
                    <a:pt x="961" y="185"/>
                    <a:pt x="959" y="185"/>
                  </a:cubicBezTo>
                  <a:close/>
                  <a:moveTo>
                    <a:pt x="927" y="145"/>
                  </a:moveTo>
                  <a:cubicBezTo>
                    <a:pt x="924" y="142"/>
                    <a:pt x="920" y="138"/>
                    <a:pt x="918" y="139"/>
                  </a:cubicBezTo>
                  <a:cubicBezTo>
                    <a:pt x="916" y="140"/>
                    <a:pt x="927" y="150"/>
                    <a:pt x="929" y="150"/>
                  </a:cubicBezTo>
                  <a:cubicBezTo>
                    <a:pt x="930" y="150"/>
                    <a:pt x="930" y="150"/>
                    <a:pt x="929" y="148"/>
                  </a:cubicBezTo>
                  <a:cubicBezTo>
                    <a:pt x="929" y="147"/>
                    <a:pt x="928" y="146"/>
                    <a:pt x="927" y="145"/>
                  </a:cubicBezTo>
                  <a:close/>
                  <a:moveTo>
                    <a:pt x="995" y="236"/>
                  </a:moveTo>
                  <a:cubicBezTo>
                    <a:pt x="993" y="237"/>
                    <a:pt x="1001" y="249"/>
                    <a:pt x="1004" y="250"/>
                  </a:cubicBezTo>
                  <a:cubicBezTo>
                    <a:pt x="1006" y="250"/>
                    <a:pt x="1005" y="248"/>
                    <a:pt x="1003" y="244"/>
                  </a:cubicBezTo>
                  <a:cubicBezTo>
                    <a:pt x="1001" y="240"/>
                    <a:pt x="997" y="236"/>
                    <a:pt x="995" y="236"/>
                  </a:cubicBezTo>
                  <a:close/>
                  <a:moveTo>
                    <a:pt x="1003" y="236"/>
                  </a:moveTo>
                  <a:cubicBezTo>
                    <a:pt x="1000" y="237"/>
                    <a:pt x="1009" y="249"/>
                    <a:pt x="1011" y="250"/>
                  </a:cubicBezTo>
                  <a:cubicBezTo>
                    <a:pt x="1013" y="250"/>
                    <a:pt x="1012" y="248"/>
                    <a:pt x="1010" y="244"/>
                  </a:cubicBezTo>
                  <a:cubicBezTo>
                    <a:pt x="1008" y="240"/>
                    <a:pt x="1004" y="236"/>
                    <a:pt x="1003" y="236"/>
                  </a:cubicBezTo>
                  <a:close/>
                  <a:moveTo>
                    <a:pt x="999" y="226"/>
                  </a:moveTo>
                  <a:cubicBezTo>
                    <a:pt x="996" y="223"/>
                    <a:pt x="993" y="218"/>
                    <a:pt x="991" y="218"/>
                  </a:cubicBezTo>
                  <a:cubicBezTo>
                    <a:pt x="989" y="220"/>
                    <a:pt x="998" y="232"/>
                    <a:pt x="1000" y="232"/>
                  </a:cubicBezTo>
                  <a:cubicBezTo>
                    <a:pt x="1002" y="233"/>
                    <a:pt x="1001" y="230"/>
                    <a:pt x="999" y="227"/>
                  </a:cubicBezTo>
                  <a:cubicBezTo>
                    <a:pt x="999" y="226"/>
                    <a:pt x="999" y="226"/>
                    <a:pt x="999" y="226"/>
                  </a:cubicBezTo>
                  <a:close/>
                  <a:moveTo>
                    <a:pt x="104" y="232"/>
                  </a:moveTo>
                  <a:cubicBezTo>
                    <a:pt x="105" y="232"/>
                    <a:pt x="108" y="228"/>
                    <a:pt x="110" y="226"/>
                  </a:cubicBezTo>
                  <a:cubicBezTo>
                    <a:pt x="112" y="223"/>
                    <a:pt x="114" y="219"/>
                    <a:pt x="114" y="218"/>
                  </a:cubicBezTo>
                  <a:cubicBezTo>
                    <a:pt x="114" y="218"/>
                    <a:pt x="114" y="218"/>
                    <a:pt x="114" y="218"/>
                  </a:cubicBezTo>
                  <a:cubicBezTo>
                    <a:pt x="112" y="220"/>
                    <a:pt x="104" y="231"/>
                    <a:pt x="104" y="232"/>
                  </a:cubicBezTo>
                  <a:close/>
                  <a:moveTo>
                    <a:pt x="972" y="201"/>
                  </a:moveTo>
                  <a:cubicBezTo>
                    <a:pt x="969" y="203"/>
                    <a:pt x="979" y="214"/>
                    <a:pt x="981" y="215"/>
                  </a:cubicBezTo>
                  <a:cubicBezTo>
                    <a:pt x="983" y="215"/>
                    <a:pt x="983" y="213"/>
                    <a:pt x="980" y="209"/>
                  </a:cubicBezTo>
                  <a:cubicBezTo>
                    <a:pt x="980" y="209"/>
                    <a:pt x="980" y="209"/>
                    <a:pt x="980" y="209"/>
                  </a:cubicBezTo>
                  <a:cubicBezTo>
                    <a:pt x="978" y="205"/>
                    <a:pt x="974" y="201"/>
                    <a:pt x="972" y="201"/>
                  </a:cubicBezTo>
                  <a:close/>
                  <a:moveTo>
                    <a:pt x="974" y="192"/>
                  </a:moveTo>
                  <a:cubicBezTo>
                    <a:pt x="971" y="188"/>
                    <a:pt x="967" y="185"/>
                    <a:pt x="966" y="185"/>
                  </a:cubicBezTo>
                  <a:cubicBezTo>
                    <a:pt x="964" y="186"/>
                    <a:pt x="974" y="197"/>
                    <a:pt x="976" y="198"/>
                  </a:cubicBezTo>
                  <a:cubicBezTo>
                    <a:pt x="977" y="198"/>
                    <a:pt x="977" y="197"/>
                    <a:pt x="975" y="194"/>
                  </a:cubicBezTo>
                  <a:cubicBezTo>
                    <a:pt x="975" y="194"/>
                    <a:pt x="975" y="193"/>
                    <a:pt x="974" y="192"/>
                  </a:cubicBezTo>
                  <a:close/>
                  <a:moveTo>
                    <a:pt x="986" y="209"/>
                  </a:moveTo>
                  <a:cubicBezTo>
                    <a:pt x="984" y="205"/>
                    <a:pt x="980" y="201"/>
                    <a:pt x="979" y="201"/>
                  </a:cubicBezTo>
                  <a:cubicBezTo>
                    <a:pt x="977" y="203"/>
                    <a:pt x="986" y="214"/>
                    <a:pt x="988" y="215"/>
                  </a:cubicBezTo>
                  <a:cubicBezTo>
                    <a:pt x="990" y="215"/>
                    <a:pt x="989" y="213"/>
                    <a:pt x="987" y="210"/>
                  </a:cubicBezTo>
                  <a:cubicBezTo>
                    <a:pt x="987" y="210"/>
                    <a:pt x="987" y="209"/>
                    <a:pt x="986" y="209"/>
                  </a:cubicBezTo>
                  <a:close/>
                  <a:moveTo>
                    <a:pt x="984" y="218"/>
                  </a:moveTo>
                  <a:cubicBezTo>
                    <a:pt x="981" y="220"/>
                    <a:pt x="990" y="232"/>
                    <a:pt x="993" y="232"/>
                  </a:cubicBezTo>
                  <a:cubicBezTo>
                    <a:pt x="995" y="233"/>
                    <a:pt x="994" y="230"/>
                    <a:pt x="992" y="226"/>
                  </a:cubicBezTo>
                  <a:cubicBezTo>
                    <a:pt x="990" y="223"/>
                    <a:pt x="986" y="218"/>
                    <a:pt x="984" y="218"/>
                  </a:cubicBezTo>
                  <a:close/>
                  <a:moveTo>
                    <a:pt x="960" y="192"/>
                  </a:moveTo>
                  <a:cubicBezTo>
                    <a:pt x="958" y="189"/>
                    <a:pt x="954" y="185"/>
                    <a:pt x="952" y="185"/>
                  </a:cubicBezTo>
                  <a:cubicBezTo>
                    <a:pt x="950" y="186"/>
                    <a:pt x="958" y="197"/>
                    <a:pt x="961" y="198"/>
                  </a:cubicBezTo>
                  <a:cubicBezTo>
                    <a:pt x="963" y="198"/>
                    <a:pt x="963" y="197"/>
                    <a:pt x="962" y="195"/>
                  </a:cubicBezTo>
                  <a:cubicBezTo>
                    <a:pt x="962" y="194"/>
                    <a:pt x="961" y="193"/>
                    <a:pt x="960" y="192"/>
                  </a:cubicBezTo>
                  <a:close/>
                  <a:moveTo>
                    <a:pt x="935" y="192"/>
                  </a:moveTo>
                  <a:cubicBezTo>
                    <a:pt x="933" y="189"/>
                    <a:pt x="928" y="185"/>
                    <a:pt x="926" y="185"/>
                  </a:cubicBezTo>
                  <a:cubicBezTo>
                    <a:pt x="923" y="186"/>
                    <a:pt x="930" y="196"/>
                    <a:pt x="934" y="198"/>
                  </a:cubicBezTo>
                  <a:cubicBezTo>
                    <a:pt x="936" y="199"/>
                    <a:pt x="937" y="197"/>
                    <a:pt x="936" y="194"/>
                  </a:cubicBezTo>
                  <a:cubicBezTo>
                    <a:pt x="936" y="194"/>
                    <a:pt x="935" y="193"/>
                    <a:pt x="935" y="192"/>
                  </a:cubicBezTo>
                  <a:close/>
                  <a:moveTo>
                    <a:pt x="955" y="214"/>
                  </a:moveTo>
                  <a:cubicBezTo>
                    <a:pt x="957" y="215"/>
                    <a:pt x="958" y="214"/>
                    <a:pt x="957" y="211"/>
                  </a:cubicBezTo>
                  <a:cubicBezTo>
                    <a:pt x="957" y="210"/>
                    <a:pt x="956" y="210"/>
                    <a:pt x="956" y="209"/>
                  </a:cubicBezTo>
                  <a:cubicBezTo>
                    <a:pt x="954" y="205"/>
                    <a:pt x="950" y="201"/>
                    <a:pt x="947" y="201"/>
                  </a:cubicBezTo>
                  <a:cubicBezTo>
                    <a:pt x="944" y="203"/>
                    <a:pt x="951" y="213"/>
                    <a:pt x="955" y="214"/>
                  </a:cubicBezTo>
                  <a:close/>
                  <a:moveTo>
                    <a:pt x="160" y="215"/>
                  </a:moveTo>
                  <a:cubicBezTo>
                    <a:pt x="161" y="215"/>
                    <a:pt x="165" y="213"/>
                    <a:pt x="168" y="209"/>
                  </a:cubicBezTo>
                  <a:cubicBezTo>
                    <a:pt x="170" y="206"/>
                    <a:pt x="172" y="201"/>
                    <a:pt x="169" y="201"/>
                  </a:cubicBezTo>
                  <a:cubicBezTo>
                    <a:pt x="164" y="203"/>
                    <a:pt x="158" y="213"/>
                    <a:pt x="160" y="215"/>
                  </a:cubicBezTo>
                  <a:close/>
                  <a:moveTo>
                    <a:pt x="937" y="201"/>
                  </a:moveTo>
                  <a:cubicBezTo>
                    <a:pt x="934" y="203"/>
                    <a:pt x="941" y="213"/>
                    <a:pt x="945" y="214"/>
                  </a:cubicBezTo>
                  <a:cubicBezTo>
                    <a:pt x="948" y="215"/>
                    <a:pt x="948" y="214"/>
                    <a:pt x="947" y="211"/>
                  </a:cubicBezTo>
                  <a:cubicBezTo>
                    <a:pt x="947" y="210"/>
                    <a:pt x="946" y="209"/>
                    <a:pt x="946" y="209"/>
                  </a:cubicBezTo>
                  <a:cubicBezTo>
                    <a:pt x="944" y="205"/>
                    <a:pt x="940" y="201"/>
                    <a:pt x="937" y="201"/>
                  </a:cubicBezTo>
                  <a:close/>
                  <a:moveTo>
                    <a:pt x="934" y="214"/>
                  </a:moveTo>
                  <a:cubicBezTo>
                    <a:pt x="937" y="216"/>
                    <a:pt x="938" y="214"/>
                    <a:pt x="937" y="211"/>
                  </a:cubicBezTo>
                  <a:cubicBezTo>
                    <a:pt x="937" y="210"/>
                    <a:pt x="936" y="210"/>
                    <a:pt x="936" y="209"/>
                  </a:cubicBezTo>
                  <a:cubicBezTo>
                    <a:pt x="934" y="205"/>
                    <a:pt x="930" y="201"/>
                    <a:pt x="927" y="201"/>
                  </a:cubicBezTo>
                  <a:cubicBezTo>
                    <a:pt x="923" y="203"/>
                    <a:pt x="929" y="212"/>
                    <a:pt x="934" y="214"/>
                  </a:cubicBezTo>
                  <a:close/>
                  <a:moveTo>
                    <a:pt x="163" y="198"/>
                  </a:moveTo>
                  <a:cubicBezTo>
                    <a:pt x="164" y="199"/>
                    <a:pt x="168" y="196"/>
                    <a:pt x="171" y="192"/>
                  </a:cubicBezTo>
                  <a:cubicBezTo>
                    <a:pt x="173" y="189"/>
                    <a:pt x="176" y="185"/>
                    <a:pt x="173" y="185"/>
                  </a:cubicBezTo>
                  <a:cubicBezTo>
                    <a:pt x="169" y="186"/>
                    <a:pt x="162" y="196"/>
                    <a:pt x="163" y="198"/>
                  </a:cubicBezTo>
                  <a:close/>
                  <a:moveTo>
                    <a:pt x="187" y="169"/>
                  </a:moveTo>
                  <a:cubicBezTo>
                    <a:pt x="186" y="169"/>
                    <a:pt x="186" y="169"/>
                    <a:pt x="186" y="169"/>
                  </a:cubicBezTo>
                  <a:cubicBezTo>
                    <a:pt x="182" y="170"/>
                    <a:pt x="174" y="180"/>
                    <a:pt x="176" y="181"/>
                  </a:cubicBezTo>
                  <a:cubicBezTo>
                    <a:pt x="177" y="182"/>
                    <a:pt x="180" y="179"/>
                    <a:pt x="184" y="176"/>
                  </a:cubicBezTo>
                  <a:cubicBezTo>
                    <a:pt x="187" y="172"/>
                    <a:pt x="188" y="169"/>
                    <a:pt x="187" y="169"/>
                  </a:cubicBezTo>
                  <a:close/>
                  <a:moveTo>
                    <a:pt x="179" y="169"/>
                  </a:moveTo>
                  <a:cubicBezTo>
                    <a:pt x="179" y="169"/>
                    <a:pt x="179" y="169"/>
                    <a:pt x="179" y="169"/>
                  </a:cubicBezTo>
                  <a:cubicBezTo>
                    <a:pt x="174" y="170"/>
                    <a:pt x="167" y="181"/>
                    <a:pt x="169" y="181"/>
                  </a:cubicBezTo>
                  <a:cubicBezTo>
                    <a:pt x="170" y="182"/>
                    <a:pt x="173" y="179"/>
                    <a:pt x="176" y="176"/>
                  </a:cubicBezTo>
                  <a:cubicBezTo>
                    <a:pt x="179" y="172"/>
                    <a:pt x="181" y="169"/>
                    <a:pt x="179" y="169"/>
                  </a:cubicBezTo>
                  <a:close/>
                  <a:moveTo>
                    <a:pt x="923" y="197"/>
                  </a:moveTo>
                  <a:cubicBezTo>
                    <a:pt x="926" y="199"/>
                    <a:pt x="927" y="198"/>
                    <a:pt x="926" y="195"/>
                  </a:cubicBezTo>
                  <a:cubicBezTo>
                    <a:pt x="926" y="194"/>
                    <a:pt x="925" y="193"/>
                    <a:pt x="925" y="192"/>
                  </a:cubicBezTo>
                  <a:cubicBezTo>
                    <a:pt x="923" y="189"/>
                    <a:pt x="918" y="185"/>
                    <a:pt x="916" y="185"/>
                  </a:cubicBezTo>
                  <a:cubicBezTo>
                    <a:pt x="912" y="186"/>
                    <a:pt x="918" y="195"/>
                    <a:pt x="923" y="197"/>
                  </a:cubicBezTo>
                  <a:close/>
                  <a:moveTo>
                    <a:pt x="156" y="198"/>
                  </a:moveTo>
                  <a:cubicBezTo>
                    <a:pt x="157" y="198"/>
                    <a:pt x="160" y="196"/>
                    <a:pt x="163" y="192"/>
                  </a:cubicBezTo>
                  <a:cubicBezTo>
                    <a:pt x="166" y="188"/>
                    <a:pt x="168" y="185"/>
                    <a:pt x="166" y="185"/>
                  </a:cubicBezTo>
                  <a:cubicBezTo>
                    <a:pt x="166" y="185"/>
                    <a:pt x="166" y="185"/>
                    <a:pt x="166" y="185"/>
                  </a:cubicBezTo>
                  <a:cubicBezTo>
                    <a:pt x="161" y="186"/>
                    <a:pt x="154" y="197"/>
                    <a:pt x="156" y="198"/>
                  </a:cubicBezTo>
                  <a:close/>
                  <a:moveTo>
                    <a:pt x="162" y="181"/>
                  </a:moveTo>
                  <a:cubicBezTo>
                    <a:pt x="163" y="182"/>
                    <a:pt x="166" y="179"/>
                    <a:pt x="169" y="176"/>
                  </a:cubicBezTo>
                  <a:cubicBezTo>
                    <a:pt x="172" y="172"/>
                    <a:pt x="174" y="169"/>
                    <a:pt x="173" y="169"/>
                  </a:cubicBezTo>
                  <a:cubicBezTo>
                    <a:pt x="173" y="169"/>
                    <a:pt x="173" y="169"/>
                    <a:pt x="173" y="169"/>
                  </a:cubicBezTo>
                  <a:cubicBezTo>
                    <a:pt x="168" y="170"/>
                    <a:pt x="160" y="181"/>
                    <a:pt x="162" y="181"/>
                  </a:cubicBezTo>
                  <a:close/>
                  <a:moveTo>
                    <a:pt x="181" y="153"/>
                  </a:moveTo>
                  <a:cubicBezTo>
                    <a:pt x="177" y="155"/>
                    <a:pt x="168" y="165"/>
                    <a:pt x="170" y="166"/>
                  </a:cubicBezTo>
                  <a:cubicBezTo>
                    <a:pt x="170" y="166"/>
                    <a:pt x="174" y="163"/>
                    <a:pt x="177" y="160"/>
                  </a:cubicBezTo>
                  <a:cubicBezTo>
                    <a:pt x="180" y="157"/>
                    <a:pt x="182" y="153"/>
                    <a:pt x="181" y="153"/>
                  </a:cubicBezTo>
                  <a:cubicBezTo>
                    <a:pt x="181" y="153"/>
                    <a:pt x="181" y="153"/>
                    <a:pt x="181" y="153"/>
                  </a:cubicBezTo>
                  <a:close/>
                  <a:moveTo>
                    <a:pt x="922" y="181"/>
                  </a:moveTo>
                  <a:cubicBezTo>
                    <a:pt x="924" y="182"/>
                    <a:pt x="925" y="181"/>
                    <a:pt x="924" y="179"/>
                  </a:cubicBezTo>
                  <a:cubicBezTo>
                    <a:pt x="924" y="178"/>
                    <a:pt x="923" y="177"/>
                    <a:pt x="923" y="176"/>
                  </a:cubicBezTo>
                  <a:cubicBezTo>
                    <a:pt x="920" y="173"/>
                    <a:pt x="916" y="169"/>
                    <a:pt x="914" y="169"/>
                  </a:cubicBezTo>
                  <a:cubicBezTo>
                    <a:pt x="911" y="170"/>
                    <a:pt x="918" y="179"/>
                    <a:pt x="922" y="181"/>
                  </a:cubicBezTo>
                  <a:close/>
                  <a:moveTo>
                    <a:pt x="187" y="153"/>
                  </a:moveTo>
                  <a:cubicBezTo>
                    <a:pt x="187" y="153"/>
                    <a:pt x="187" y="153"/>
                    <a:pt x="186" y="153"/>
                  </a:cubicBezTo>
                  <a:cubicBezTo>
                    <a:pt x="182" y="155"/>
                    <a:pt x="174" y="165"/>
                    <a:pt x="175" y="166"/>
                  </a:cubicBezTo>
                  <a:cubicBezTo>
                    <a:pt x="176" y="166"/>
                    <a:pt x="179" y="163"/>
                    <a:pt x="183" y="160"/>
                  </a:cubicBezTo>
                  <a:cubicBezTo>
                    <a:pt x="186" y="156"/>
                    <a:pt x="188" y="153"/>
                    <a:pt x="187" y="153"/>
                  </a:cubicBezTo>
                  <a:close/>
                  <a:moveTo>
                    <a:pt x="912" y="181"/>
                  </a:moveTo>
                  <a:cubicBezTo>
                    <a:pt x="914" y="182"/>
                    <a:pt x="915" y="181"/>
                    <a:pt x="915" y="179"/>
                  </a:cubicBezTo>
                  <a:cubicBezTo>
                    <a:pt x="914" y="178"/>
                    <a:pt x="914" y="177"/>
                    <a:pt x="913" y="176"/>
                  </a:cubicBezTo>
                  <a:cubicBezTo>
                    <a:pt x="911" y="173"/>
                    <a:pt x="907" y="169"/>
                    <a:pt x="904" y="169"/>
                  </a:cubicBezTo>
                  <a:cubicBezTo>
                    <a:pt x="901" y="170"/>
                    <a:pt x="907" y="179"/>
                    <a:pt x="912" y="181"/>
                  </a:cubicBezTo>
                  <a:close/>
                  <a:moveTo>
                    <a:pt x="910" y="165"/>
                  </a:moveTo>
                  <a:cubicBezTo>
                    <a:pt x="912" y="166"/>
                    <a:pt x="913" y="165"/>
                    <a:pt x="912" y="163"/>
                  </a:cubicBezTo>
                  <a:cubicBezTo>
                    <a:pt x="912" y="162"/>
                    <a:pt x="911" y="161"/>
                    <a:pt x="910" y="160"/>
                  </a:cubicBezTo>
                  <a:cubicBezTo>
                    <a:pt x="908" y="157"/>
                    <a:pt x="903" y="153"/>
                    <a:pt x="901" y="153"/>
                  </a:cubicBezTo>
                  <a:cubicBezTo>
                    <a:pt x="898" y="155"/>
                    <a:pt x="906" y="164"/>
                    <a:pt x="910" y="165"/>
                  </a:cubicBezTo>
                  <a:close/>
                  <a:moveTo>
                    <a:pt x="892" y="153"/>
                  </a:moveTo>
                  <a:cubicBezTo>
                    <a:pt x="889" y="154"/>
                    <a:pt x="895" y="163"/>
                    <a:pt x="900" y="165"/>
                  </a:cubicBezTo>
                  <a:cubicBezTo>
                    <a:pt x="902" y="166"/>
                    <a:pt x="903" y="165"/>
                    <a:pt x="903" y="163"/>
                  </a:cubicBezTo>
                  <a:cubicBezTo>
                    <a:pt x="902" y="163"/>
                    <a:pt x="902" y="162"/>
                    <a:pt x="901" y="160"/>
                  </a:cubicBezTo>
                  <a:cubicBezTo>
                    <a:pt x="899" y="157"/>
                    <a:pt x="894" y="153"/>
                    <a:pt x="892" y="153"/>
                  </a:cubicBezTo>
                  <a:close/>
                  <a:moveTo>
                    <a:pt x="954" y="250"/>
                  </a:moveTo>
                  <a:cubicBezTo>
                    <a:pt x="957" y="251"/>
                    <a:pt x="958" y="249"/>
                    <a:pt x="957" y="246"/>
                  </a:cubicBezTo>
                  <a:cubicBezTo>
                    <a:pt x="957" y="245"/>
                    <a:pt x="957" y="244"/>
                    <a:pt x="957" y="244"/>
                  </a:cubicBezTo>
                  <a:cubicBezTo>
                    <a:pt x="955" y="240"/>
                    <a:pt x="951" y="236"/>
                    <a:pt x="948" y="236"/>
                  </a:cubicBezTo>
                  <a:cubicBezTo>
                    <a:pt x="944" y="237"/>
                    <a:pt x="949" y="247"/>
                    <a:pt x="954" y="250"/>
                  </a:cubicBezTo>
                  <a:close/>
                  <a:moveTo>
                    <a:pt x="995" y="244"/>
                  </a:moveTo>
                  <a:cubicBezTo>
                    <a:pt x="993" y="240"/>
                    <a:pt x="990" y="236"/>
                    <a:pt x="987" y="236"/>
                  </a:cubicBezTo>
                  <a:cubicBezTo>
                    <a:pt x="985" y="237"/>
                    <a:pt x="992" y="249"/>
                    <a:pt x="996" y="250"/>
                  </a:cubicBezTo>
                  <a:cubicBezTo>
                    <a:pt x="998" y="251"/>
                    <a:pt x="998" y="249"/>
                    <a:pt x="996" y="245"/>
                  </a:cubicBezTo>
                  <a:cubicBezTo>
                    <a:pt x="996" y="245"/>
                    <a:pt x="996" y="244"/>
                    <a:pt x="995" y="244"/>
                  </a:cubicBezTo>
                  <a:close/>
                  <a:moveTo>
                    <a:pt x="979" y="236"/>
                  </a:moveTo>
                  <a:cubicBezTo>
                    <a:pt x="976" y="237"/>
                    <a:pt x="983" y="249"/>
                    <a:pt x="987" y="250"/>
                  </a:cubicBezTo>
                  <a:cubicBezTo>
                    <a:pt x="989" y="251"/>
                    <a:pt x="989" y="248"/>
                    <a:pt x="987" y="244"/>
                  </a:cubicBezTo>
                  <a:cubicBezTo>
                    <a:pt x="987" y="244"/>
                    <a:pt x="987" y="244"/>
                    <a:pt x="987" y="244"/>
                  </a:cubicBezTo>
                  <a:cubicBezTo>
                    <a:pt x="985" y="240"/>
                    <a:pt x="981" y="236"/>
                    <a:pt x="979" y="236"/>
                  </a:cubicBezTo>
                  <a:close/>
                  <a:moveTo>
                    <a:pt x="976" y="250"/>
                  </a:moveTo>
                  <a:cubicBezTo>
                    <a:pt x="979" y="251"/>
                    <a:pt x="980" y="249"/>
                    <a:pt x="978" y="246"/>
                  </a:cubicBezTo>
                  <a:cubicBezTo>
                    <a:pt x="978" y="245"/>
                    <a:pt x="978" y="244"/>
                    <a:pt x="977" y="244"/>
                  </a:cubicBezTo>
                  <a:cubicBezTo>
                    <a:pt x="976" y="240"/>
                    <a:pt x="972" y="236"/>
                    <a:pt x="969" y="236"/>
                  </a:cubicBezTo>
                  <a:cubicBezTo>
                    <a:pt x="966" y="237"/>
                    <a:pt x="972" y="248"/>
                    <a:pt x="976" y="250"/>
                  </a:cubicBezTo>
                  <a:close/>
                  <a:moveTo>
                    <a:pt x="966" y="250"/>
                  </a:moveTo>
                  <a:cubicBezTo>
                    <a:pt x="969" y="251"/>
                    <a:pt x="969" y="249"/>
                    <a:pt x="968" y="245"/>
                  </a:cubicBezTo>
                  <a:cubicBezTo>
                    <a:pt x="968" y="245"/>
                    <a:pt x="968" y="244"/>
                    <a:pt x="967" y="244"/>
                  </a:cubicBezTo>
                  <a:cubicBezTo>
                    <a:pt x="966" y="240"/>
                    <a:pt x="962" y="236"/>
                    <a:pt x="959" y="236"/>
                  </a:cubicBezTo>
                  <a:cubicBezTo>
                    <a:pt x="955" y="237"/>
                    <a:pt x="961" y="248"/>
                    <a:pt x="966" y="250"/>
                  </a:cubicBezTo>
                  <a:close/>
                  <a:moveTo>
                    <a:pt x="968" y="218"/>
                  </a:moveTo>
                  <a:cubicBezTo>
                    <a:pt x="965" y="220"/>
                    <a:pt x="972" y="231"/>
                    <a:pt x="976" y="232"/>
                  </a:cubicBezTo>
                  <a:cubicBezTo>
                    <a:pt x="978" y="233"/>
                    <a:pt x="978" y="231"/>
                    <a:pt x="977" y="227"/>
                  </a:cubicBezTo>
                  <a:cubicBezTo>
                    <a:pt x="977" y="227"/>
                    <a:pt x="976" y="226"/>
                    <a:pt x="976" y="226"/>
                  </a:cubicBezTo>
                  <a:cubicBezTo>
                    <a:pt x="974" y="223"/>
                    <a:pt x="970" y="218"/>
                    <a:pt x="968" y="218"/>
                  </a:cubicBezTo>
                  <a:close/>
                  <a:moveTo>
                    <a:pt x="984" y="226"/>
                  </a:moveTo>
                  <a:cubicBezTo>
                    <a:pt x="982" y="223"/>
                    <a:pt x="978" y="218"/>
                    <a:pt x="976" y="218"/>
                  </a:cubicBezTo>
                  <a:cubicBezTo>
                    <a:pt x="974" y="220"/>
                    <a:pt x="981" y="231"/>
                    <a:pt x="985" y="232"/>
                  </a:cubicBezTo>
                  <a:cubicBezTo>
                    <a:pt x="987" y="233"/>
                    <a:pt x="987" y="231"/>
                    <a:pt x="985" y="228"/>
                  </a:cubicBezTo>
                  <a:cubicBezTo>
                    <a:pt x="985" y="227"/>
                    <a:pt x="985" y="227"/>
                    <a:pt x="984" y="226"/>
                  </a:cubicBezTo>
                  <a:close/>
                  <a:moveTo>
                    <a:pt x="107" y="250"/>
                  </a:moveTo>
                  <a:cubicBezTo>
                    <a:pt x="108" y="250"/>
                    <a:pt x="111" y="248"/>
                    <a:pt x="113" y="244"/>
                  </a:cubicBezTo>
                  <a:cubicBezTo>
                    <a:pt x="116" y="240"/>
                    <a:pt x="118" y="236"/>
                    <a:pt x="116" y="236"/>
                  </a:cubicBezTo>
                  <a:cubicBezTo>
                    <a:pt x="112" y="237"/>
                    <a:pt x="105" y="249"/>
                    <a:pt x="107" y="250"/>
                  </a:cubicBezTo>
                  <a:close/>
                  <a:moveTo>
                    <a:pt x="966" y="232"/>
                  </a:moveTo>
                  <a:cubicBezTo>
                    <a:pt x="968" y="233"/>
                    <a:pt x="969" y="231"/>
                    <a:pt x="968" y="229"/>
                  </a:cubicBezTo>
                  <a:cubicBezTo>
                    <a:pt x="968" y="228"/>
                    <a:pt x="967" y="227"/>
                    <a:pt x="967" y="226"/>
                  </a:cubicBezTo>
                  <a:cubicBezTo>
                    <a:pt x="965" y="223"/>
                    <a:pt x="961" y="218"/>
                    <a:pt x="958" y="218"/>
                  </a:cubicBezTo>
                  <a:cubicBezTo>
                    <a:pt x="955" y="220"/>
                    <a:pt x="962" y="230"/>
                    <a:pt x="966" y="232"/>
                  </a:cubicBezTo>
                  <a:close/>
                  <a:moveTo>
                    <a:pt x="161" y="201"/>
                  </a:moveTo>
                  <a:cubicBezTo>
                    <a:pt x="156" y="203"/>
                    <a:pt x="150" y="213"/>
                    <a:pt x="151" y="215"/>
                  </a:cubicBezTo>
                  <a:cubicBezTo>
                    <a:pt x="153" y="215"/>
                    <a:pt x="156" y="213"/>
                    <a:pt x="159" y="209"/>
                  </a:cubicBezTo>
                  <a:cubicBezTo>
                    <a:pt x="161" y="206"/>
                    <a:pt x="163" y="201"/>
                    <a:pt x="161" y="201"/>
                  </a:cubicBezTo>
                  <a:close/>
                  <a:moveTo>
                    <a:pt x="146" y="201"/>
                  </a:moveTo>
                  <a:cubicBezTo>
                    <a:pt x="142" y="203"/>
                    <a:pt x="135" y="214"/>
                    <a:pt x="137" y="215"/>
                  </a:cubicBezTo>
                  <a:cubicBezTo>
                    <a:pt x="138" y="215"/>
                    <a:pt x="141" y="212"/>
                    <a:pt x="144" y="209"/>
                  </a:cubicBezTo>
                  <a:cubicBezTo>
                    <a:pt x="146" y="206"/>
                    <a:pt x="148" y="201"/>
                    <a:pt x="146" y="201"/>
                  </a:cubicBezTo>
                  <a:close/>
                  <a:moveTo>
                    <a:pt x="944" y="232"/>
                  </a:moveTo>
                  <a:cubicBezTo>
                    <a:pt x="947" y="233"/>
                    <a:pt x="948" y="232"/>
                    <a:pt x="948" y="229"/>
                  </a:cubicBezTo>
                  <a:cubicBezTo>
                    <a:pt x="947" y="228"/>
                    <a:pt x="947" y="227"/>
                    <a:pt x="946" y="226"/>
                  </a:cubicBezTo>
                  <a:cubicBezTo>
                    <a:pt x="945" y="223"/>
                    <a:pt x="941" y="218"/>
                    <a:pt x="938" y="218"/>
                  </a:cubicBezTo>
                  <a:cubicBezTo>
                    <a:pt x="934" y="220"/>
                    <a:pt x="940" y="229"/>
                    <a:pt x="944" y="232"/>
                  </a:cubicBezTo>
                  <a:close/>
                  <a:moveTo>
                    <a:pt x="110" y="236"/>
                  </a:moveTo>
                  <a:cubicBezTo>
                    <a:pt x="107" y="237"/>
                    <a:pt x="100" y="249"/>
                    <a:pt x="101" y="250"/>
                  </a:cubicBezTo>
                  <a:cubicBezTo>
                    <a:pt x="102" y="250"/>
                    <a:pt x="105" y="248"/>
                    <a:pt x="107" y="244"/>
                  </a:cubicBezTo>
                  <a:cubicBezTo>
                    <a:pt x="110" y="240"/>
                    <a:pt x="112" y="236"/>
                    <a:pt x="110" y="236"/>
                  </a:cubicBezTo>
                  <a:close/>
                  <a:moveTo>
                    <a:pt x="128" y="218"/>
                  </a:moveTo>
                  <a:cubicBezTo>
                    <a:pt x="124" y="220"/>
                    <a:pt x="117" y="231"/>
                    <a:pt x="118" y="232"/>
                  </a:cubicBezTo>
                  <a:cubicBezTo>
                    <a:pt x="119" y="233"/>
                    <a:pt x="122" y="230"/>
                    <a:pt x="125" y="226"/>
                  </a:cubicBezTo>
                  <a:cubicBezTo>
                    <a:pt x="127" y="223"/>
                    <a:pt x="130" y="218"/>
                    <a:pt x="128" y="218"/>
                  </a:cubicBezTo>
                  <a:close/>
                  <a:moveTo>
                    <a:pt x="123" y="218"/>
                  </a:moveTo>
                  <a:cubicBezTo>
                    <a:pt x="122" y="218"/>
                    <a:pt x="122" y="218"/>
                    <a:pt x="122" y="218"/>
                  </a:cubicBezTo>
                  <a:cubicBezTo>
                    <a:pt x="119" y="220"/>
                    <a:pt x="112" y="231"/>
                    <a:pt x="113" y="232"/>
                  </a:cubicBezTo>
                  <a:cubicBezTo>
                    <a:pt x="114" y="233"/>
                    <a:pt x="116" y="230"/>
                    <a:pt x="119" y="226"/>
                  </a:cubicBezTo>
                  <a:cubicBezTo>
                    <a:pt x="122" y="222"/>
                    <a:pt x="124" y="218"/>
                    <a:pt x="123" y="218"/>
                  </a:cubicBezTo>
                  <a:close/>
                  <a:moveTo>
                    <a:pt x="140" y="201"/>
                  </a:moveTo>
                  <a:cubicBezTo>
                    <a:pt x="140" y="201"/>
                    <a:pt x="140" y="201"/>
                    <a:pt x="140" y="201"/>
                  </a:cubicBezTo>
                  <a:cubicBezTo>
                    <a:pt x="136" y="203"/>
                    <a:pt x="129" y="214"/>
                    <a:pt x="130" y="215"/>
                  </a:cubicBezTo>
                  <a:cubicBezTo>
                    <a:pt x="131" y="215"/>
                    <a:pt x="134" y="212"/>
                    <a:pt x="137" y="209"/>
                  </a:cubicBezTo>
                  <a:cubicBezTo>
                    <a:pt x="140" y="205"/>
                    <a:pt x="142" y="201"/>
                    <a:pt x="140" y="201"/>
                  </a:cubicBezTo>
                  <a:close/>
                  <a:moveTo>
                    <a:pt x="958" y="228"/>
                  </a:moveTo>
                  <a:cubicBezTo>
                    <a:pt x="958" y="227"/>
                    <a:pt x="957" y="227"/>
                    <a:pt x="957" y="226"/>
                  </a:cubicBezTo>
                  <a:cubicBezTo>
                    <a:pt x="955" y="223"/>
                    <a:pt x="951" y="218"/>
                    <a:pt x="948" y="218"/>
                  </a:cubicBezTo>
                  <a:cubicBezTo>
                    <a:pt x="945" y="220"/>
                    <a:pt x="951" y="230"/>
                    <a:pt x="956" y="232"/>
                  </a:cubicBezTo>
                  <a:cubicBezTo>
                    <a:pt x="958" y="233"/>
                    <a:pt x="959" y="231"/>
                    <a:pt x="958" y="228"/>
                  </a:cubicBezTo>
                  <a:close/>
                  <a:moveTo>
                    <a:pt x="153" y="201"/>
                  </a:moveTo>
                  <a:cubicBezTo>
                    <a:pt x="149" y="203"/>
                    <a:pt x="142" y="214"/>
                    <a:pt x="144" y="215"/>
                  </a:cubicBezTo>
                  <a:cubicBezTo>
                    <a:pt x="145" y="215"/>
                    <a:pt x="148" y="212"/>
                    <a:pt x="151" y="209"/>
                  </a:cubicBezTo>
                  <a:cubicBezTo>
                    <a:pt x="153" y="206"/>
                    <a:pt x="156" y="201"/>
                    <a:pt x="153" y="201"/>
                  </a:cubicBezTo>
                  <a:close/>
                  <a:moveTo>
                    <a:pt x="949" y="150"/>
                  </a:moveTo>
                  <a:cubicBezTo>
                    <a:pt x="950" y="150"/>
                    <a:pt x="946" y="145"/>
                    <a:pt x="945" y="145"/>
                  </a:cubicBezTo>
                  <a:cubicBezTo>
                    <a:pt x="942" y="142"/>
                    <a:pt x="938" y="138"/>
                    <a:pt x="937" y="139"/>
                  </a:cubicBezTo>
                  <a:cubicBezTo>
                    <a:pt x="937" y="140"/>
                    <a:pt x="948" y="151"/>
                    <a:pt x="949" y="150"/>
                  </a:cubicBezTo>
                  <a:close/>
                  <a:moveTo>
                    <a:pt x="970" y="169"/>
                  </a:moveTo>
                  <a:cubicBezTo>
                    <a:pt x="970" y="170"/>
                    <a:pt x="980" y="182"/>
                    <a:pt x="981" y="181"/>
                  </a:cubicBezTo>
                  <a:cubicBezTo>
                    <a:pt x="981" y="181"/>
                    <a:pt x="978" y="176"/>
                    <a:pt x="977" y="176"/>
                  </a:cubicBezTo>
                  <a:cubicBezTo>
                    <a:pt x="974" y="172"/>
                    <a:pt x="971" y="169"/>
                    <a:pt x="970" y="169"/>
                  </a:cubicBezTo>
                  <a:close/>
                  <a:moveTo>
                    <a:pt x="948" y="145"/>
                  </a:moveTo>
                  <a:cubicBezTo>
                    <a:pt x="945" y="142"/>
                    <a:pt x="941" y="138"/>
                    <a:pt x="940" y="139"/>
                  </a:cubicBezTo>
                  <a:cubicBezTo>
                    <a:pt x="940" y="140"/>
                    <a:pt x="952" y="151"/>
                    <a:pt x="952" y="150"/>
                  </a:cubicBezTo>
                  <a:cubicBezTo>
                    <a:pt x="952" y="150"/>
                    <a:pt x="948" y="145"/>
                    <a:pt x="948" y="145"/>
                  </a:cubicBezTo>
                  <a:close/>
                  <a:moveTo>
                    <a:pt x="184" y="150"/>
                  </a:moveTo>
                  <a:cubicBezTo>
                    <a:pt x="185" y="151"/>
                    <a:pt x="188" y="148"/>
                    <a:pt x="191" y="145"/>
                  </a:cubicBezTo>
                  <a:cubicBezTo>
                    <a:pt x="195" y="141"/>
                    <a:pt x="197" y="139"/>
                    <a:pt x="196" y="139"/>
                  </a:cubicBezTo>
                  <a:cubicBezTo>
                    <a:pt x="196" y="139"/>
                    <a:pt x="196" y="139"/>
                    <a:pt x="196" y="139"/>
                  </a:cubicBezTo>
                  <a:cubicBezTo>
                    <a:pt x="192" y="140"/>
                    <a:pt x="183" y="150"/>
                    <a:pt x="184" y="150"/>
                  </a:cubicBezTo>
                  <a:close/>
                  <a:moveTo>
                    <a:pt x="955" y="153"/>
                  </a:moveTo>
                  <a:cubicBezTo>
                    <a:pt x="955" y="155"/>
                    <a:pt x="966" y="166"/>
                    <a:pt x="967" y="166"/>
                  </a:cubicBezTo>
                  <a:cubicBezTo>
                    <a:pt x="967" y="165"/>
                    <a:pt x="963" y="161"/>
                    <a:pt x="963" y="160"/>
                  </a:cubicBezTo>
                  <a:cubicBezTo>
                    <a:pt x="960" y="157"/>
                    <a:pt x="956" y="153"/>
                    <a:pt x="955" y="153"/>
                  </a:cubicBezTo>
                  <a:close/>
                  <a:moveTo>
                    <a:pt x="978" y="181"/>
                  </a:moveTo>
                  <a:cubicBezTo>
                    <a:pt x="978" y="181"/>
                    <a:pt x="975" y="176"/>
                    <a:pt x="974" y="176"/>
                  </a:cubicBezTo>
                  <a:cubicBezTo>
                    <a:pt x="971" y="172"/>
                    <a:pt x="968" y="169"/>
                    <a:pt x="967" y="169"/>
                  </a:cubicBezTo>
                  <a:cubicBezTo>
                    <a:pt x="966" y="170"/>
                    <a:pt x="977" y="182"/>
                    <a:pt x="978" y="181"/>
                  </a:cubicBezTo>
                  <a:close/>
                  <a:moveTo>
                    <a:pt x="964" y="166"/>
                  </a:moveTo>
                  <a:cubicBezTo>
                    <a:pt x="964" y="165"/>
                    <a:pt x="960" y="161"/>
                    <a:pt x="960" y="160"/>
                  </a:cubicBezTo>
                  <a:cubicBezTo>
                    <a:pt x="957" y="157"/>
                    <a:pt x="953" y="153"/>
                    <a:pt x="952" y="153"/>
                  </a:cubicBezTo>
                  <a:cubicBezTo>
                    <a:pt x="952" y="155"/>
                    <a:pt x="963" y="166"/>
                    <a:pt x="964" y="166"/>
                  </a:cubicBezTo>
                  <a:close/>
                  <a:moveTo>
                    <a:pt x="186" y="145"/>
                  </a:moveTo>
                  <a:cubicBezTo>
                    <a:pt x="189" y="142"/>
                    <a:pt x="192" y="139"/>
                    <a:pt x="191" y="139"/>
                  </a:cubicBezTo>
                  <a:cubicBezTo>
                    <a:pt x="191" y="139"/>
                    <a:pt x="191" y="139"/>
                    <a:pt x="191" y="139"/>
                  </a:cubicBezTo>
                  <a:cubicBezTo>
                    <a:pt x="187" y="140"/>
                    <a:pt x="178" y="150"/>
                    <a:pt x="179" y="150"/>
                  </a:cubicBezTo>
                  <a:cubicBezTo>
                    <a:pt x="180" y="151"/>
                    <a:pt x="183" y="148"/>
                    <a:pt x="186" y="145"/>
                  </a:cubicBezTo>
                  <a:close/>
                  <a:moveTo>
                    <a:pt x="939" y="145"/>
                  </a:moveTo>
                  <a:cubicBezTo>
                    <a:pt x="943" y="149"/>
                    <a:pt x="945" y="151"/>
                    <a:pt x="946" y="150"/>
                  </a:cubicBezTo>
                  <a:cubicBezTo>
                    <a:pt x="946" y="150"/>
                    <a:pt x="944" y="148"/>
                    <a:pt x="942" y="145"/>
                  </a:cubicBezTo>
                  <a:cubicBezTo>
                    <a:pt x="938" y="142"/>
                    <a:pt x="934" y="138"/>
                    <a:pt x="933" y="139"/>
                  </a:cubicBezTo>
                  <a:cubicBezTo>
                    <a:pt x="933" y="139"/>
                    <a:pt x="937" y="144"/>
                    <a:pt x="939" y="145"/>
                  </a:cubicBezTo>
                  <a:close/>
                  <a:moveTo>
                    <a:pt x="125" y="198"/>
                  </a:moveTo>
                  <a:cubicBezTo>
                    <a:pt x="125" y="198"/>
                    <a:pt x="129" y="194"/>
                    <a:pt x="130" y="192"/>
                  </a:cubicBezTo>
                  <a:cubicBezTo>
                    <a:pt x="132" y="190"/>
                    <a:pt x="135" y="186"/>
                    <a:pt x="136" y="185"/>
                  </a:cubicBezTo>
                  <a:cubicBezTo>
                    <a:pt x="136" y="185"/>
                    <a:pt x="136" y="185"/>
                    <a:pt x="136" y="185"/>
                  </a:cubicBezTo>
                  <a:cubicBezTo>
                    <a:pt x="134" y="186"/>
                    <a:pt x="125" y="197"/>
                    <a:pt x="125" y="198"/>
                  </a:cubicBezTo>
                  <a:close/>
                  <a:moveTo>
                    <a:pt x="114" y="215"/>
                  </a:moveTo>
                  <a:cubicBezTo>
                    <a:pt x="115" y="214"/>
                    <a:pt x="119" y="209"/>
                    <a:pt x="119" y="209"/>
                  </a:cubicBezTo>
                  <a:cubicBezTo>
                    <a:pt x="121" y="206"/>
                    <a:pt x="124" y="202"/>
                    <a:pt x="124" y="201"/>
                  </a:cubicBezTo>
                  <a:cubicBezTo>
                    <a:pt x="124" y="201"/>
                    <a:pt x="124" y="201"/>
                    <a:pt x="124" y="201"/>
                  </a:cubicBezTo>
                  <a:cubicBezTo>
                    <a:pt x="124" y="201"/>
                    <a:pt x="124" y="201"/>
                    <a:pt x="124" y="201"/>
                  </a:cubicBezTo>
                  <a:cubicBezTo>
                    <a:pt x="122" y="203"/>
                    <a:pt x="114" y="213"/>
                    <a:pt x="114" y="215"/>
                  </a:cubicBezTo>
                  <a:cubicBezTo>
                    <a:pt x="114" y="215"/>
                    <a:pt x="114" y="215"/>
                    <a:pt x="114" y="215"/>
                  </a:cubicBezTo>
                  <a:close/>
                  <a:moveTo>
                    <a:pt x="997" y="218"/>
                  </a:moveTo>
                  <a:cubicBezTo>
                    <a:pt x="996" y="219"/>
                    <a:pt x="998" y="222"/>
                    <a:pt x="1000" y="226"/>
                  </a:cubicBezTo>
                  <a:cubicBezTo>
                    <a:pt x="1003" y="229"/>
                    <a:pt x="1006" y="232"/>
                    <a:pt x="1007" y="232"/>
                  </a:cubicBezTo>
                  <a:cubicBezTo>
                    <a:pt x="1008" y="232"/>
                    <a:pt x="1007" y="230"/>
                    <a:pt x="1004" y="226"/>
                  </a:cubicBezTo>
                  <a:cubicBezTo>
                    <a:pt x="1002" y="223"/>
                    <a:pt x="998" y="218"/>
                    <a:pt x="997" y="218"/>
                  </a:cubicBezTo>
                  <a:close/>
                  <a:moveTo>
                    <a:pt x="143" y="176"/>
                  </a:moveTo>
                  <a:cubicBezTo>
                    <a:pt x="144" y="174"/>
                    <a:pt x="148" y="170"/>
                    <a:pt x="149" y="169"/>
                  </a:cubicBezTo>
                  <a:cubicBezTo>
                    <a:pt x="149" y="169"/>
                    <a:pt x="149" y="169"/>
                    <a:pt x="149" y="169"/>
                  </a:cubicBezTo>
                  <a:cubicBezTo>
                    <a:pt x="147" y="170"/>
                    <a:pt x="138" y="180"/>
                    <a:pt x="138" y="181"/>
                  </a:cubicBezTo>
                  <a:cubicBezTo>
                    <a:pt x="138" y="181"/>
                    <a:pt x="138" y="181"/>
                    <a:pt x="143" y="176"/>
                  </a:cubicBezTo>
                  <a:close/>
                  <a:moveTo>
                    <a:pt x="158" y="176"/>
                  </a:moveTo>
                  <a:cubicBezTo>
                    <a:pt x="161" y="172"/>
                    <a:pt x="163" y="169"/>
                    <a:pt x="162" y="169"/>
                  </a:cubicBezTo>
                  <a:cubicBezTo>
                    <a:pt x="162" y="169"/>
                    <a:pt x="162" y="169"/>
                    <a:pt x="162" y="169"/>
                  </a:cubicBezTo>
                  <a:cubicBezTo>
                    <a:pt x="158" y="170"/>
                    <a:pt x="150" y="181"/>
                    <a:pt x="151" y="181"/>
                  </a:cubicBezTo>
                  <a:cubicBezTo>
                    <a:pt x="151" y="182"/>
                    <a:pt x="154" y="179"/>
                    <a:pt x="158" y="176"/>
                  </a:cubicBezTo>
                  <a:close/>
                  <a:moveTo>
                    <a:pt x="156" y="181"/>
                  </a:moveTo>
                  <a:cubicBezTo>
                    <a:pt x="157" y="182"/>
                    <a:pt x="160" y="179"/>
                    <a:pt x="163" y="176"/>
                  </a:cubicBezTo>
                  <a:cubicBezTo>
                    <a:pt x="166" y="172"/>
                    <a:pt x="168" y="169"/>
                    <a:pt x="167" y="169"/>
                  </a:cubicBezTo>
                  <a:cubicBezTo>
                    <a:pt x="167" y="169"/>
                    <a:pt x="167" y="169"/>
                    <a:pt x="167" y="169"/>
                  </a:cubicBezTo>
                  <a:cubicBezTo>
                    <a:pt x="163" y="170"/>
                    <a:pt x="155" y="181"/>
                    <a:pt x="156" y="181"/>
                  </a:cubicBezTo>
                  <a:close/>
                  <a:moveTo>
                    <a:pt x="172" y="160"/>
                  </a:moveTo>
                  <a:cubicBezTo>
                    <a:pt x="175" y="157"/>
                    <a:pt x="177" y="153"/>
                    <a:pt x="176" y="153"/>
                  </a:cubicBezTo>
                  <a:cubicBezTo>
                    <a:pt x="176" y="153"/>
                    <a:pt x="176" y="153"/>
                    <a:pt x="176" y="153"/>
                  </a:cubicBezTo>
                  <a:cubicBezTo>
                    <a:pt x="173" y="155"/>
                    <a:pt x="164" y="165"/>
                    <a:pt x="165" y="166"/>
                  </a:cubicBezTo>
                  <a:cubicBezTo>
                    <a:pt x="165" y="166"/>
                    <a:pt x="168" y="163"/>
                    <a:pt x="172" y="160"/>
                  </a:cubicBezTo>
                  <a:close/>
                  <a:moveTo>
                    <a:pt x="138" y="181"/>
                  </a:moveTo>
                  <a:cubicBezTo>
                    <a:pt x="139" y="181"/>
                    <a:pt x="143" y="177"/>
                    <a:pt x="144" y="176"/>
                  </a:cubicBezTo>
                  <a:cubicBezTo>
                    <a:pt x="146" y="174"/>
                    <a:pt x="150" y="170"/>
                    <a:pt x="150" y="169"/>
                  </a:cubicBezTo>
                  <a:cubicBezTo>
                    <a:pt x="150" y="169"/>
                    <a:pt x="150" y="169"/>
                    <a:pt x="150" y="169"/>
                  </a:cubicBezTo>
                  <a:cubicBezTo>
                    <a:pt x="148" y="170"/>
                    <a:pt x="139" y="180"/>
                    <a:pt x="138" y="181"/>
                  </a:cubicBezTo>
                  <a:close/>
                  <a:moveTo>
                    <a:pt x="127" y="198"/>
                  </a:moveTo>
                  <a:cubicBezTo>
                    <a:pt x="128" y="198"/>
                    <a:pt x="132" y="193"/>
                    <a:pt x="132" y="192"/>
                  </a:cubicBezTo>
                  <a:cubicBezTo>
                    <a:pt x="134" y="190"/>
                    <a:pt x="138" y="186"/>
                    <a:pt x="138" y="185"/>
                  </a:cubicBezTo>
                  <a:cubicBezTo>
                    <a:pt x="138" y="185"/>
                    <a:pt x="137" y="185"/>
                    <a:pt x="137" y="185"/>
                  </a:cubicBezTo>
                  <a:cubicBezTo>
                    <a:pt x="135" y="186"/>
                    <a:pt x="127" y="197"/>
                    <a:pt x="127" y="198"/>
                  </a:cubicBezTo>
                  <a:cubicBezTo>
                    <a:pt x="127" y="198"/>
                    <a:pt x="127" y="198"/>
                    <a:pt x="127" y="198"/>
                  </a:cubicBezTo>
                  <a:close/>
                  <a:moveTo>
                    <a:pt x="167" y="236"/>
                  </a:moveTo>
                  <a:cubicBezTo>
                    <a:pt x="161" y="237"/>
                    <a:pt x="156" y="249"/>
                    <a:pt x="159" y="250"/>
                  </a:cubicBezTo>
                  <a:cubicBezTo>
                    <a:pt x="161" y="251"/>
                    <a:pt x="164" y="248"/>
                    <a:pt x="167" y="244"/>
                  </a:cubicBezTo>
                  <a:cubicBezTo>
                    <a:pt x="169" y="240"/>
                    <a:pt x="170" y="236"/>
                    <a:pt x="167" y="236"/>
                  </a:cubicBezTo>
                  <a:close/>
                  <a:moveTo>
                    <a:pt x="169" y="215"/>
                  </a:moveTo>
                  <a:cubicBezTo>
                    <a:pt x="171" y="215"/>
                    <a:pt x="175" y="213"/>
                    <a:pt x="177" y="209"/>
                  </a:cubicBezTo>
                  <a:cubicBezTo>
                    <a:pt x="180" y="206"/>
                    <a:pt x="181" y="201"/>
                    <a:pt x="179" y="201"/>
                  </a:cubicBezTo>
                  <a:cubicBezTo>
                    <a:pt x="173" y="203"/>
                    <a:pt x="167" y="213"/>
                    <a:pt x="169" y="215"/>
                  </a:cubicBezTo>
                  <a:close/>
                  <a:moveTo>
                    <a:pt x="182" y="185"/>
                  </a:moveTo>
                  <a:cubicBezTo>
                    <a:pt x="177" y="186"/>
                    <a:pt x="170" y="196"/>
                    <a:pt x="172" y="198"/>
                  </a:cubicBezTo>
                  <a:cubicBezTo>
                    <a:pt x="173" y="199"/>
                    <a:pt x="177" y="196"/>
                    <a:pt x="180" y="192"/>
                  </a:cubicBezTo>
                  <a:cubicBezTo>
                    <a:pt x="182" y="189"/>
                    <a:pt x="184" y="185"/>
                    <a:pt x="182" y="185"/>
                  </a:cubicBezTo>
                  <a:close/>
                  <a:moveTo>
                    <a:pt x="158" y="218"/>
                  </a:moveTo>
                  <a:cubicBezTo>
                    <a:pt x="153" y="220"/>
                    <a:pt x="147" y="231"/>
                    <a:pt x="149" y="232"/>
                  </a:cubicBezTo>
                  <a:cubicBezTo>
                    <a:pt x="150" y="233"/>
                    <a:pt x="154" y="230"/>
                    <a:pt x="157" y="226"/>
                  </a:cubicBezTo>
                  <a:cubicBezTo>
                    <a:pt x="159" y="223"/>
                    <a:pt x="161" y="218"/>
                    <a:pt x="158" y="218"/>
                  </a:cubicBezTo>
                  <a:close/>
                  <a:moveTo>
                    <a:pt x="141" y="218"/>
                  </a:moveTo>
                  <a:cubicBezTo>
                    <a:pt x="136" y="220"/>
                    <a:pt x="130" y="231"/>
                    <a:pt x="132" y="232"/>
                  </a:cubicBezTo>
                  <a:cubicBezTo>
                    <a:pt x="133" y="233"/>
                    <a:pt x="137" y="230"/>
                    <a:pt x="139" y="226"/>
                  </a:cubicBezTo>
                  <a:cubicBezTo>
                    <a:pt x="141" y="223"/>
                    <a:pt x="144" y="218"/>
                    <a:pt x="141" y="218"/>
                  </a:cubicBezTo>
                  <a:close/>
                  <a:moveTo>
                    <a:pt x="129" y="250"/>
                  </a:moveTo>
                  <a:cubicBezTo>
                    <a:pt x="131" y="251"/>
                    <a:pt x="134" y="248"/>
                    <a:pt x="137" y="244"/>
                  </a:cubicBezTo>
                  <a:cubicBezTo>
                    <a:pt x="139" y="240"/>
                    <a:pt x="141" y="236"/>
                    <a:pt x="138" y="236"/>
                  </a:cubicBezTo>
                  <a:cubicBezTo>
                    <a:pt x="133" y="237"/>
                    <a:pt x="127" y="249"/>
                    <a:pt x="129" y="250"/>
                  </a:cubicBezTo>
                  <a:close/>
                  <a:moveTo>
                    <a:pt x="149" y="218"/>
                  </a:moveTo>
                  <a:cubicBezTo>
                    <a:pt x="144" y="220"/>
                    <a:pt x="138" y="231"/>
                    <a:pt x="140" y="232"/>
                  </a:cubicBezTo>
                  <a:cubicBezTo>
                    <a:pt x="141" y="233"/>
                    <a:pt x="145" y="230"/>
                    <a:pt x="147" y="226"/>
                  </a:cubicBezTo>
                  <a:cubicBezTo>
                    <a:pt x="150" y="223"/>
                    <a:pt x="152" y="218"/>
                    <a:pt x="149" y="218"/>
                  </a:cubicBezTo>
                  <a:close/>
                  <a:moveTo>
                    <a:pt x="981" y="185"/>
                  </a:moveTo>
                  <a:cubicBezTo>
                    <a:pt x="980" y="186"/>
                    <a:pt x="990" y="198"/>
                    <a:pt x="992" y="198"/>
                  </a:cubicBezTo>
                  <a:cubicBezTo>
                    <a:pt x="992" y="197"/>
                    <a:pt x="988" y="192"/>
                    <a:pt x="988" y="192"/>
                  </a:cubicBezTo>
                  <a:cubicBezTo>
                    <a:pt x="985" y="188"/>
                    <a:pt x="981" y="185"/>
                    <a:pt x="981" y="185"/>
                  </a:cubicBezTo>
                  <a:close/>
                  <a:moveTo>
                    <a:pt x="190" y="185"/>
                  </a:moveTo>
                  <a:cubicBezTo>
                    <a:pt x="185" y="186"/>
                    <a:pt x="179" y="196"/>
                    <a:pt x="181" y="198"/>
                  </a:cubicBezTo>
                  <a:cubicBezTo>
                    <a:pt x="182" y="199"/>
                    <a:pt x="186" y="196"/>
                    <a:pt x="189" y="192"/>
                  </a:cubicBezTo>
                  <a:cubicBezTo>
                    <a:pt x="191" y="189"/>
                    <a:pt x="193" y="185"/>
                    <a:pt x="190" y="185"/>
                  </a:cubicBezTo>
                  <a:close/>
                  <a:moveTo>
                    <a:pt x="1007" y="218"/>
                  </a:moveTo>
                  <a:cubicBezTo>
                    <a:pt x="1006" y="220"/>
                    <a:pt x="1015" y="232"/>
                    <a:pt x="1017" y="232"/>
                  </a:cubicBezTo>
                  <a:cubicBezTo>
                    <a:pt x="1017" y="232"/>
                    <a:pt x="1016" y="229"/>
                    <a:pt x="1014" y="226"/>
                  </a:cubicBezTo>
                  <a:cubicBezTo>
                    <a:pt x="1011" y="223"/>
                    <a:pt x="1008" y="218"/>
                    <a:pt x="1007" y="218"/>
                  </a:cubicBezTo>
                  <a:close/>
                  <a:moveTo>
                    <a:pt x="994" y="201"/>
                  </a:moveTo>
                  <a:cubicBezTo>
                    <a:pt x="993" y="203"/>
                    <a:pt x="1003" y="215"/>
                    <a:pt x="1004" y="215"/>
                  </a:cubicBezTo>
                  <a:cubicBezTo>
                    <a:pt x="1005" y="215"/>
                    <a:pt x="1004" y="212"/>
                    <a:pt x="1001" y="209"/>
                  </a:cubicBezTo>
                  <a:cubicBezTo>
                    <a:pt x="999" y="205"/>
                    <a:pt x="995" y="201"/>
                    <a:pt x="994" y="201"/>
                  </a:cubicBezTo>
                  <a:close/>
                  <a:moveTo>
                    <a:pt x="997" y="201"/>
                  </a:moveTo>
                  <a:cubicBezTo>
                    <a:pt x="997" y="203"/>
                    <a:pt x="1007" y="215"/>
                    <a:pt x="1008" y="215"/>
                  </a:cubicBezTo>
                  <a:cubicBezTo>
                    <a:pt x="1008" y="214"/>
                    <a:pt x="1005" y="209"/>
                    <a:pt x="1004" y="209"/>
                  </a:cubicBezTo>
                  <a:cubicBezTo>
                    <a:pt x="1002" y="205"/>
                    <a:pt x="998" y="201"/>
                    <a:pt x="997" y="201"/>
                  </a:cubicBezTo>
                  <a:close/>
                  <a:moveTo>
                    <a:pt x="984" y="185"/>
                  </a:moveTo>
                  <a:cubicBezTo>
                    <a:pt x="984" y="186"/>
                    <a:pt x="994" y="198"/>
                    <a:pt x="995" y="198"/>
                  </a:cubicBezTo>
                  <a:cubicBezTo>
                    <a:pt x="995" y="197"/>
                    <a:pt x="991" y="192"/>
                    <a:pt x="991" y="192"/>
                  </a:cubicBezTo>
                  <a:cubicBezTo>
                    <a:pt x="988" y="188"/>
                    <a:pt x="985" y="185"/>
                    <a:pt x="984" y="185"/>
                  </a:cubicBezTo>
                  <a:close/>
                  <a:moveTo>
                    <a:pt x="1010" y="218"/>
                  </a:moveTo>
                  <a:cubicBezTo>
                    <a:pt x="1010" y="220"/>
                    <a:pt x="1019" y="233"/>
                    <a:pt x="1020" y="232"/>
                  </a:cubicBezTo>
                  <a:cubicBezTo>
                    <a:pt x="1020" y="231"/>
                    <a:pt x="1017" y="227"/>
                    <a:pt x="1017" y="226"/>
                  </a:cubicBezTo>
                  <a:cubicBezTo>
                    <a:pt x="1014" y="222"/>
                    <a:pt x="1011" y="218"/>
                    <a:pt x="1010" y="218"/>
                  </a:cubicBezTo>
                  <a:close/>
                  <a:moveTo>
                    <a:pt x="200" y="185"/>
                  </a:moveTo>
                  <a:cubicBezTo>
                    <a:pt x="195" y="186"/>
                    <a:pt x="188" y="196"/>
                    <a:pt x="191" y="198"/>
                  </a:cubicBezTo>
                  <a:cubicBezTo>
                    <a:pt x="192" y="199"/>
                    <a:pt x="196" y="196"/>
                    <a:pt x="199" y="192"/>
                  </a:cubicBezTo>
                  <a:cubicBezTo>
                    <a:pt x="201" y="189"/>
                    <a:pt x="203" y="185"/>
                    <a:pt x="200" y="185"/>
                  </a:cubicBezTo>
                  <a:close/>
                  <a:moveTo>
                    <a:pt x="1022" y="236"/>
                  </a:moveTo>
                  <a:cubicBezTo>
                    <a:pt x="1022" y="237"/>
                    <a:pt x="1031" y="251"/>
                    <a:pt x="1032" y="250"/>
                  </a:cubicBezTo>
                  <a:cubicBezTo>
                    <a:pt x="1032" y="249"/>
                    <a:pt x="1029" y="244"/>
                    <a:pt x="1029" y="244"/>
                  </a:cubicBezTo>
                  <a:cubicBezTo>
                    <a:pt x="1027" y="240"/>
                    <a:pt x="1023" y="236"/>
                    <a:pt x="1022" y="236"/>
                  </a:cubicBezTo>
                  <a:close/>
                  <a:moveTo>
                    <a:pt x="1019" y="236"/>
                  </a:moveTo>
                  <a:cubicBezTo>
                    <a:pt x="1018" y="238"/>
                    <a:pt x="1027" y="250"/>
                    <a:pt x="1028" y="250"/>
                  </a:cubicBezTo>
                  <a:cubicBezTo>
                    <a:pt x="1029" y="250"/>
                    <a:pt x="1028" y="247"/>
                    <a:pt x="1025" y="244"/>
                  </a:cubicBezTo>
                  <a:cubicBezTo>
                    <a:pt x="1023" y="240"/>
                    <a:pt x="1020" y="236"/>
                    <a:pt x="1019" y="236"/>
                  </a:cubicBezTo>
                  <a:close/>
                  <a:moveTo>
                    <a:pt x="98" y="244"/>
                  </a:moveTo>
                  <a:cubicBezTo>
                    <a:pt x="101" y="239"/>
                    <a:pt x="103" y="236"/>
                    <a:pt x="102" y="236"/>
                  </a:cubicBezTo>
                  <a:cubicBezTo>
                    <a:pt x="102" y="236"/>
                    <a:pt x="102" y="236"/>
                    <a:pt x="102" y="236"/>
                  </a:cubicBezTo>
                  <a:cubicBezTo>
                    <a:pt x="99" y="237"/>
                    <a:pt x="91" y="250"/>
                    <a:pt x="93" y="250"/>
                  </a:cubicBezTo>
                  <a:cubicBezTo>
                    <a:pt x="93" y="250"/>
                    <a:pt x="96" y="247"/>
                    <a:pt x="98" y="244"/>
                  </a:cubicBezTo>
                  <a:close/>
                  <a:moveTo>
                    <a:pt x="970" y="164"/>
                  </a:moveTo>
                  <a:cubicBezTo>
                    <a:pt x="967" y="161"/>
                    <a:pt x="964" y="158"/>
                    <a:pt x="962" y="155"/>
                  </a:cubicBezTo>
                  <a:cubicBezTo>
                    <a:pt x="961" y="155"/>
                    <a:pt x="961" y="155"/>
                    <a:pt x="961" y="155"/>
                  </a:cubicBezTo>
                  <a:cubicBezTo>
                    <a:pt x="961" y="154"/>
                    <a:pt x="960" y="154"/>
                    <a:pt x="960" y="154"/>
                  </a:cubicBezTo>
                  <a:cubicBezTo>
                    <a:pt x="960" y="154"/>
                    <a:pt x="960" y="153"/>
                    <a:pt x="960" y="153"/>
                  </a:cubicBezTo>
                  <a:cubicBezTo>
                    <a:pt x="960" y="154"/>
                    <a:pt x="971" y="165"/>
                    <a:pt x="972" y="166"/>
                  </a:cubicBezTo>
                  <a:cubicBezTo>
                    <a:pt x="971" y="165"/>
                    <a:pt x="971" y="164"/>
                    <a:pt x="970" y="164"/>
                  </a:cubicBezTo>
                  <a:close/>
                  <a:moveTo>
                    <a:pt x="971" y="166"/>
                  </a:moveTo>
                  <a:cubicBezTo>
                    <a:pt x="971" y="165"/>
                    <a:pt x="967" y="161"/>
                    <a:pt x="966" y="160"/>
                  </a:cubicBezTo>
                  <a:cubicBezTo>
                    <a:pt x="963" y="157"/>
                    <a:pt x="960" y="154"/>
                    <a:pt x="959" y="153"/>
                  </a:cubicBezTo>
                  <a:cubicBezTo>
                    <a:pt x="959" y="153"/>
                    <a:pt x="959" y="153"/>
                    <a:pt x="959" y="153"/>
                  </a:cubicBezTo>
                  <a:cubicBezTo>
                    <a:pt x="960" y="155"/>
                    <a:pt x="970" y="165"/>
                    <a:pt x="971" y="166"/>
                  </a:cubicBezTo>
                  <a:close/>
                  <a:moveTo>
                    <a:pt x="969" y="166"/>
                  </a:moveTo>
                  <a:cubicBezTo>
                    <a:pt x="970" y="165"/>
                    <a:pt x="966" y="161"/>
                    <a:pt x="965" y="160"/>
                  </a:cubicBezTo>
                  <a:cubicBezTo>
                    <a:pt x="962" y="157"/>
                    <a:pt x="958" y="154"/>
                    <a:pt x="958" y="153"/>
                  </a:cubicBezTo>
                  <a:cubicBezTo>
                    <a:pt x="958" y="153"/>
                    <a:pt x="958" y="153"/>
                    <a:pt x="958" y="153"/>
                  </a:cubicBezTo>
                  <a:cubicBezTo>
                    <a:pt x="958" y="155"/>
                    <a:pt x="968" y="165"/>
                    <a:pt x="969" y="166"/>
                  </a:cubicBezTo>
                  <a:close/>
                  <a:moveTo>
                    <a:pt x="984" y="181"/>
                  </a:moveTo>
                  <a:cubicBezTo>
                    <a:pt x="984" y="181"/>
                    <a:pt x="980" y="177"/>
                    <a:pt x="979" y="176"/>
                  </a:cubicBezTo>
                  <a:cubicBezTo>
                    <a:pt x="977" y="173"/>
                    <a:pt x="973" y="169"/>
                    <a:pt x="972" y="169"/>
                  </a:cubicBezTo>
                  <a:cubicBezTo>
                    <a:pt x="972" y="169"/>
                    <a:pt x="972" y="169"/>
                    <a:pt x="972" y="169"/>
                  </a:cubicBezTo>
                  <a:cubicBezTo>
                    <a:pt x="973" y="170"/>
                    <a:pt x="983" y="181"/>
                    <a:pt x="984" y="181"/>
                  </a:cubicBezTo>
                  <a:close/>
                  <a:moveTo>
                    <a:pt x="955" y="149"/>
                  </a:moveTo>
                  <a:cubicBezTo>
                    <a:pt x="952" y="146"/>
                    <a:pt x="949" y="143"/>
                    <a:pt x="946" y="140"/>
                  </a:cubicBezTo>
                  <a:cubicBezTo>
                    <a:pt x="946" y="140"/>
                    <a:pt x="946" y="140"/>
                    <a:pt x="946" y="140"/>
                  </a:cubicBezTo>
                  <a:cubicBezTo>
                    <a:pt x="946" y="140"/>
                    <a:pt x="945" y="139"/>
                    <a:pt x="945" y="139"/>
                  </a:cubicBezTo>
                  <a:cubicBezTo>
                    <a:pt x="945" y="139"/>
                    <a:pt x="945" y="139"/>
                    <a:pt x="944" y="139"/>
                  </a:cubicBezTo>
                  <a:cubicBezTo>
                    <a:pt x="945" y="139"/>
                    <a:pt x="956" y="150"/>
                    <a:pt x="957" y="150"/>
                  </a:cubicBezTo>
                  <a:cubicBezTo>
                    <a:pt x="956" y="150"/>
                    <a:pt x="956" y="149"/>
                    <a:pt x="955" y="149"/>
                  </a:cubicBezTo>
                  <a:close/>
                  <a:moveTo>
                    <a:pt x="999" y="198"/>
                  </a:moveTo>
                  <a:cubicBezTo>
                    <a:pt x="999" y="197"/>
                    <a:pt x="995" y="193"/>
                    <a:pt x="994" y="192"/>
                  </a:cubicBezTo>
                  <a:cubicBezTo>
                    <a:pt x="992" y="189"/>
                    <a:pt x="989" y="185"/>
                    <a:pt x="988" y="185"/>
                  </a:cubicBezTo>
                  <a:cubicBezTo>
                    <a:pt x="988" y="185"/>
                    <a:pt x="988" y="185"/>
                    <a:pt x="988" y="185"/>
                  </a:cubicBezTo>
                  <a:cubicBezTo>
                    <a:pt x="989" y="186"/>
                    <a:pt x="998" y="197"/>
                    <a:pt x="999" y="198"/>
                  </a:cubicBezTo>
                  <a:close/>
                  <a:moveTo>
                    <a:pt x="984" y="180"/>
                  </a:moveTo>
                  <a:cubicBezTo>
                    <a:pt x="982" y="177"/>
                    <a:pt x="979" y="174"/>
                    <a:pt x="976" y="171"/>
                  </a:cubicBezTo>
                  <a:cubicBezTo>
                    <a:pt x="976" y="170"/>
                    <a:pt x="976" y="170"/>
                    <a:pt x="976" y="170"/>
                  </a:cubicBezTo>
                  <a:cubicBezTo>
                    <a:pt x="976" y="170"/>
                    <a:pt x="975" y="169"/>
                    <a:pt x="975" y="169"/>
                  </a:cubicBezTo>
                  <a:cubicBezTo>
                    <a:pt x="975" y="169"/>
                    <a:pt x="975" y="169"/>
                    <a:pt x="975" y="169"/>
                  </a:cubicBezTo>
                  <a:cubicBezTo>
                    <a:pt x="975" y="170"/>
                    <a:pt x="985" y="181"/>
                    <a:pt x="986" y="181"/>
                  </a:cubicBezTo>
                  <a:cubicBezTo>
                    <a:pt x="985" y="181"/>
                    <a:pt x="985" y="180"/>
                    <a:pt x="984" y="180"/>
                  </a:cubicBezTo>
                  <a:close/>
                  <a:moveTo>
                    <a:pt x="985" y="181"/>
                  </a:moveTo>
                  <a:cubicBezTo>
                    <a:pt x="985" y="181"/>
                    <a:pt x="981" y="176"/>
                    <a:pt x="981" y="176"/>
                  </a:cubicBezTo>
                  <a:cubicBezTo>
                    <a:pt x="978" y="173"/>
                    <a:pt x="974" y="169"/>
                    <a:pt x="974" y="169"/>
                  </a:cubicBezTo>
                  <a:cubicBezTo>
                    <a:pt x="974" y="169"/>
                    <a:pt x="974" y="169"/>
                    <a:pt x="974" y="169"/>
                  </a:cubicBezTo>
                  <a:cubicBezTo>
                    <a:pt x="975" y="170"/>
                    <a:pt x="984" y="181"/>
                    <a:pt x="985" y="181"/>
                  </a:cubicBezTo>
                  <a:close/>
                  <a:moveTo>
                    <a:pt x="997" y="198"/>
                  </a:moveTo>
                  <a:cubicBezTo>
                    <a:pt x="997" y="197"/>
                    <a:pt x="994" y="193"/>
                    <a:pt x="993" y="192"/>
                  </a:cubicBezTo>
                  <a:cubicBezTo>
                    <a:pt x="991" y="189"/>
                    <a:pt x="987" y="185"/>
                    <a:pt x="987" y="185"/>
                  </a:cubicBezTo>
                  <a:cubicBezTo>
                    <a:pt x="987" y="185"/>
                    <a:pt x="987" y="185"/>
                    <a:pt x="987" y="185"/>
                  </a:cubicBezTo>
                  <a:cubicBezTo>
                    <a:pt x="987" y="186"/>
                    <a:pt x="996" y="197"/>
                    <a:pt x="997" y="198"/>
                  </a:cubicBezTo>
                  <a:close/>
                  <a:moveTo>
                    <a:pt x="130" y="236"/>
                  </a:moveTo>
                  <a:cubicBezTo>
                    <a:pt x="125" y="237"/>
                    <a:pt x="119" y="249"/>
                    <a:pt x="121" y="250"/>
                  </a:cubicBezTo>
                  <a:cubicBezTo>
                    <a:pt x="123" y="250"/>
                    <a:pt x="126" y="248"/>
                    <a:pt x="128" y="244"/>
                  </a:cubicBezTo>
                  <a:cubicBezTo>
                    <a:pt x="130" y="240"/>
                    <a:pt x="132" y="236"/>
                    <a:pt x="130" y="236"/>
                  </a:cubicBezTo>
                  <a:close/>
                  <a:moveTo>
                    <a:pt x="190" y="236"/>
                  </a:moveTo>
                  <a:cubicBezTo>
                    <a:pt x="184" y="237"/>
                    <a:pt x="179" y="248"/>
                    <a:pt x="182" y="250"/>
                  </a:cubicBezTo>
                  <a:cubicBezTo>
                    <a:pt x="184" y="251"/>
                    <a:pt x="188" y="248"/>
                    <a:pt x="191" y="244"/>
                  </a:cubicBezTo>
                  <a:cubicBezTo>
                    <a:pt x="193" y="240"/>
                    <a:pt x="194" y="236"/>
                    <a:pt x="190" y="236"/>
                  </a:cubicBezTo>
                  <a:close/>
                  <a:moveTo>
                    <a:pt x="99" y="236"/>
                  </a:moveTo>
                  <a:cubicBezTo>
                    <a:pt x="99" y="236"/>
                    <a:pt x="99" y="236"/>
                    <a:pt x="99" y="236"/>
                  </a:cubicBezTo>
                  <a:cubicBezTo>
                    <a:pt x="97" y="237"/>
                    <a:pt x="89" y="249"/>
                    <a:pt x="90" y="250"/>
                  </a:cubicBezTo>
                  <a:cubicBezTo>
                    <a:pt x="90" y="250"/>
                    <a:pt x="90" y="250"/>
                    <a:pt x="90" y="250"/>
                  </a:cubicBezTo>
                  <a:cubicBezTo>
                    <a:pt x="90" y="250"/>
                    <a:pt x="93" y="246"/>
                    <a:pt x="95" y="244"/>
                  </a:cubicBezTo>
                  <a:cubicBezTo>
                    <a:pt x="96" y="241"/>
                    <a:pt x="99" y="237"/>
                    <a:pt x="99" y="236"/>
                  </a:cubicBezTo>
                  <a:cubicBezTo>
                    <a:pt x="99" y="236"/>
                    <a:pt x="99" y="236"/>
                    <a:pt x="99" y="236"/>
                  </a:cubicBezTo>
                  <a:close/>
                  <a:moveTo>
                    <a:pt x="102" y="244"/>
                  </a:moveTo>
                  <a:cubicBezTo>
                    <a:pt x="104" y="240"/>
                    <a:pt x="107" y="236"/>
                    <a:pt x="106" y="236"/>
                  </a:cubicBezTo>
                  <a:cubicBezTo>
                    <a:pt x="102" y="237"/>
                    <a:pt x="96" y="249"/>
                    <a:pt x="97" y="250"/>
                  </a:cubicBezTo>
                  <a:cubicBezTo>
                    <a:pt x="97" y="250"/>
                    <a:pt x="100" y="248"/>
                    <a:pt x="102" y="244"/>
                  </a:cubicBezTo>
                  <a:close/>
                  <a:moveTo>
                    <a:pt x="188" y="201"/>
                  </a:moveTo>
                  <a:cubicBezTo>
                    <a:pt x="183" y="203"/>
                    <a:pt x="177" y="213"/>
                    <a:pt x="179" y="215"/>
                  </a:cubicBezTo>
                  <a:cubicBezTo>
                    <a:pt x="181" y="215"/>
                    <a:pt x="185" y="213"/>
                    <a:pt x="188" y="209"/>
                  </a:cubicBezTo>
                  <a:cubicBezTo>
                    <a:pt x="190" y="206"/>
                    <a:pt x="192" y="201"/>
                    <a:pt x="188" y="201"/>
                  </a:cubicBezTo>
                  <a:close/>
                  <a:moveTo>
                    <a:pt x="955" y="150"/>
                  </a:moveTo>
                  <a:cubicBezTo>
                    <a:pt x="955" y="150"/>
                    <a:pt x="951" y="146"/>
                    <a:pt x="950" y="145"/>
                  </a:cubicBezTo>
                  <a:cubicBezTo>
                    <a:pt x="947" y="142"/>
                    <a:pt x="943" y="139"/>
                    <a:pt x="942" y="139"/>
                  </a:cubicBezTo>
                  <a:cubicBezTo>
                    <a:pt x="942" y="139"/>
                    <a:pt x="942" y="139"/>
                    <a:pt x="942" y="139"/>
                  </a:cubicBezTo>
                  <a:cubicBezTo>
                    <a:pt x="943" y="140"/>
                    <a:pt x="953" y="150"/>
                    <a:pt x="955" y="150"/>
                  </a:cubicBezTo>
                  <a:close/>
                  <a:moveTo>
                    <a:pt x="956" y="150"/>
                  </a:moveTo>
                  <a:cubicBezTo>
                    <a:pt x="956" y="150"/>
                    <a:pt x="951" y="145"/>
                    <a:pt x="951" y="145"/>
                  </a:cubicBezTo>
                  <a:cubicBezTo>
                    <a:pt x="948" y="142"/>
                    <a:pt x="944" y="139"/>
                    <a:pt x="944" y="139"/>
                  </a:cubicBezTo>
                  <a:cubicBezTo>
                    <a:pt x="944" y="139"/>
                    <a:pt x="944" y="139"/>
                    <a:pt x="944" y="139"/>
                  </a:cubicBezTo>
                  <a:cubicBezTo>
                    <a:pt x="945" y="140"/>
                    <a:pt x="955" y="150"/>
                    <a:pt x="956" y="150"/>
                  </a:cubicBezTo>
                  <a:close/>
                  <a:moveTo>
                    <a:pt x="170" y="250"/>
                  </a:moveTo>
                  <a:cubicBezTo>
                    <a:pt x="172" y="251"/>
                    <a:pt x="176" y="248"/>
                    <a:pt x="178" y="244"/>
                  </a:cubicBezTo>
                  <a:cubicBezTo>
                    <a:pt x="180" y="240"/>
                    <a:pt x="182" y="236"/>
                    <a:pt x="178" y="236"/>
                  </a:cubicBezTo>
                  <a:cubicBezTo>
                    <a:pt x="173" y="237"/>
                    <a:pt x="167" y="248"/>
                    <a:pt x="170" y="250"/>
                  </a:cubicBezTo>
                  <a:close/>
                  <a:moveTo>
                    <a:pt x="1047" y="266"/>
                  </a:moveTo>
                  <a:cubicBezTo>
                    <a:pt x="1045" y="263"/>
                    <a:pt x="1043" y="259"/>
                    <a:pt x="1041" y="256"/>
                  </a:cubicBezTo>
                  <a:cubicBezTo>
                    <a:pt x="1040" y="256"/>
                    <a:pt x="1040" y="256"/>
                    <a:pt x="1040" y="256"/>
                  </a:cubicBezTo>
                  <a:cubicBezTo>
                    <a:pt x="1040" y="255"/>
                    <a:pt x="1040" y="254"/>
                    <a:pt x="1039" y="254"/>
                  </a:cubicBezTo>
                  <a:cubicBezTo>
                    <a:pt x="1039" y="254"/>
                    <a:pt x="1039" y="254"/>
                    <a:pt x="1039" y="254"/>
                  </a:cubicBezTo>
                  <a:cubicBezTo>
                    <a:pt x="1040" y="255"/>
                    <a:pt x="1047" y="267"/>
                    <a:pt x="1048" y="268"/>
                  </a:cubicBezTo>
                  <a:cubicBezTo>
                    <a:pt x="1048" y="268"/>
                    <a:pt x="1048" y="268"/>
                    <a:pt x="1047" y="266"/>
                  </a:cubicBezTo>
                  <a:close/>
                  <a:moveTo>
                    <a:pt x="103" y="226"/>
                  </a:moveTo>
                  <a:cubicBezTo>
                    <a:pt x="103" y="225"/>
                    <a:pt x="108" y="219"/>
                    <a:pt x="108" y="218"/>
                  </a:cubicBezTo>
                  <a:cubicBezTo>
                    <a:pt x="108" y="218"/>
                    <a:pt x="108" y="218"/>
                    <a:pt x="108" y="218"/>
                  </a:cubicBezTo>
                  <a:cubicBezTo>
                    <a:pt x="107" y="220"/>
                    <a:pt x="99" y="231"/>
                    <a:pt x="98" y="232"/>
                  </a:cubicBezTo>
                  <a:cubicBezTo>
                    <a:pt x="98" y="232"/>
                    <a:pt x="99" y="232"/>
                    <a:pt x="103" y="226"/>
                  </a:cubicBezTo>
                  <a:close/>
                  <a:moveTo>
                    <a:pt x="117" y="209"/>
                  </a:moveTo>
                  <a:cubicBezTo>
                    <a:pt x="119" y="206"/>
                    <a:pt x="122" y="202"/>
                    <a:pt x="122" y="201"/>
                  </a:cubicBezTo>
                  <a:cubicBezTo>
                    <a:pt x="122" y="201"/>
                    <a:pt x="122" y="201"/>
                    <a:pt x="122" y="201"/>
                  </a:cubicBezTo>
                  <a:cubicBezTo>
                    <a:pt x="120" y="203"/>
                    <a:pt x="112" y="213"/>
                    <a:pt x="112" y="215"/>
                  </a:cubicBezTo>
                  <a:cubicBezTo>
                    <a:pt x="112" y="215"/>
                    <a:pt x="116" y="210"/>
                    <a:pt x="117" y="209"/>
                  </a:cubicBezTo>
                  <a:close/>
                  <a:moveTo>
                    <a:pt x="92" y="244"/>
                  </a:moveTo>
                  <a:cubicBezTo>
                    <a:pt x="94" y="241"/>
                    <a:pt x="97" y="237"/>
                    <a:pt x="97" y="236"/>
                  </a:cubicBezTo>
                  <a:cubicBezTo>
                    <a:pt x="97" y="236"/>
                    <a:pt x="97" y="236"/>
                    <a:pt x="97" y="236"/>
                  </a:cubicBezTo>
                  <a:cubicBezTo>
                    <a:pt x="95" y="237"/>
                    <a:pt x="88" y="249"/>
                    <a:pt x="88" y="250"/>
                  </a:cubicBezTo>
                  <a:cubicBezTo>
                    <a:pt x="88" y="250"/>
                    <a:pt x="91" y="245"/>
                    <a:pt x="92" y="244"/>
                  </a:cubicBezTo>
                  <a:close/>
                  <a:moveTo>
                    <a:pt x="91" y="244"/>
                  </a:moveTo>
                  <a:cubicBezTo>
                    <a:pt x="91" y="243"/>
                    <a:pt x="95" y="237"/>
                    <a:pt x="96" y="236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95" y="237"/>
                    <a:pt x="87" y="249"/>
                    <a:pt x="86" y="250"/>
                  </a:cubicBezTo>
                  <a:cubicBezTo>
                    <a:pt x="87" y="250"/>
                    <a:pt x="87" y="250"/>
                    <a:pt x="91" y="244"/>
                  </a:cubicBezTo>
                  <a:close/>
                  <a:moveTo>
                    <a:pt x="101" y="232"/>
                  </a:moveTo>
                  <a:cubicBezTo>
                    <a:pt x="102" y="232"/>
                    <a:pt x="105" y="228"/>
                    <a:pt x="107" y="226"/>
                  </a:cubicBezTo>
                  <a:cubicBezTo>
                    <a:pt x="108" y="224"/>
                    <a:pt x="111" y="219"/>
                    <a:pt x="111" y="218"/>
                  </a:cubicBezTo>
                  <a:cubicBezTo>
                    <a:pt x="111" y="218"/>
                    <a:pt x="111" y="218"/>
                    <a:pt x="111" y="218"/>
                  </a:cubicBezTo>
                  <a:cubicBezTo>
                    <a:pt x="111" y="218"/>
                    <a:pt x="111" y="218"/>
                    <a:pt x="111" y="218"/>
                  </a:cubicBezTo>
                  <a:cubicBezTo>
                    <a:pt x="109" y="220"/>
                    <a:pt x="101" y="231"/>
                    <a:pt x="101" y="232"/>
                  </a:cubicBezTo>
                  <a:cubicBezTo>
                    <a:pt x="101" y="232"/>
                    <a:pt x="101" y="232"/>
                    <a:pt x="101" y="232"/>
                  </a:cubicBezTo>
                  <a:close/>
                  <a:moveTo>
                    <a:pt x="104" y="226"/>
                  </a:moveTo>
                  <a:cubicBezTo>
                    <a:pt x="106" y="224"/>
                    <a:pt x="109" y="219"/>
                    <a:pt x="109" y="218"/>
                  </a:cubicBezTo>
                  <a:cubicBezTo>
                    <a:pt x="109" y="218"/>
                    <a:pt x="109" y="218"/>
                    <a:pt x="109" y="218"/>
                  </a:cubicBezTo>
                  <a:cubicBezTo>
                    <a:pt x="107" y="220"/>
                    <a:pt x="100" y="231"/>
                    <a:pt x="99" y="232"/>
                  </a:cubicBezTo>
                  <a:cubicBezTo>
                    <a:pt x="100" y="232"/>
                    <a:pt x="103" y="227"/>
                    <a:pt x="104" y="226"/>
                  </a:cubicBezTo>
                  <a:close/>
                  <a:moveTo>
                    <a:pt x="116" y="209"/>
                  </a:moveTo>
                  <a:cubicBezTo>
                    <a:pt x="116" y="208"/>
                    <a:pt x="121" y="202"/>
                    <a:pt x="121" y="201"/>
                  </a:cubicBezTo>
                  <a:cubicBezTo>
                    <a:pt x="121" y="201"/>
                    <a:pt x="121" y="201"/>
                    <a:pt x="121" y="201"/>
                  </a:cubicBezTo>
                  <a:cubicBezTo>
                    <a:pt x="120" y="203"/>
                    <a:pt x="111" y="213"/>
                    <a:pt x="111" y="215"/>
                  </a:cubicBezTo>
                  <a:cubicBezTo>
                    <a:pt x="111" y="215"/>
                    <a:pt x="111" y="214"/>
                    <a:pt x="116" y="209"/>
                  </a:cubicBezTo>
                  <a:close/>
                  <a:moveTo>
                    <a:pt x="1036" y="248"/>
                  </a:moveTo>
                  <a:cubicBezTo>
                    <a:pt x="1034" y="245"/>
                    <a:pt x="1031" y="241"/>
                    <a:pt x="1029" y="238"/>
                  </a:cubicBezTo>
                  <a:cubicBezTo>
                    <a:pt x="1029" y="237"/>
                    <a:pt x="1029" y="237"/>
                    <a:pt x="1029" y="237"/>
                  </a:cubicBezTo>
                  <a:cubicBezTo>
                    <a:pt x="1028" y="237"/>
                    <a:pt x="1028" y="236"/>
                    <a:pt x="1028" y="236"/>
                  </a:cubicBezTo>
                  <a:cubicBezTo>
                    <a:pt x="1028" y="236"/>
                    <a:pt x="1028" y="236"/>
                    <a:pt x="1028" y="236"/>
                  </a:cubicBezTo>
                  <a:cubicBezTo>
                    <a:pt x="1028" y="237"/>
                    <a:pt x="1036" y="249"/>
                    <a:pt x="1037" y="250"/>
                  </a:cubicBezTo>
                  <a:cubicBezTo>
                    <a:pt x="1037" y="250"/>
                    <a:pt x="1037" y="250"/>
                    <a:pt x="1036" y="248"/>
                  </a:cubicBezTo>
                  <a:close/>
                  <a:moveTo>
                    <a:pt x="1010" y="215"/>
                  </a:moveTo>
                  <a:cubicBezTo>
                    <a:pt x="1011" y="214"/>
                    <a:pt x="1007" y="210"/>
                    <a:pt x="1006" y="209"/>
                  </a:cubicBezTo>
                  <a:cubicBezTo>
                    <a:pt x="1004" y="205"/>
                    <a:pt x="1001" y="202"/>
                    <a:pt x="1000" y="201"/>
                  </a:cubicBezTo>
                  <a:cubicBezTo>
                    <a:pt x="1000" y="201"/>
                    <a:pt x="1000" y="201"/>
                    <a:pt x="1000" y="201"/>
                  </a:cubicBezTo>
                  <a:cubicBezTo>
                    <a:pt x="1000" y="203"/>
                    <a:pt x="1009" y="214"/>
                    <a:pt x="1010" y="215"/>
                  </a:cubicBezTo>
                  <a:close/>
                  <a:moveTo>
                    <a:pt x="1012" y="215"/>
                  </a:moveTo>
                  <a:cubicBezTo>
                    <a:pt x="1012" y="214"/>
                    <a:pt x="1008" y="210"/>
                    <a:pt x="1008" y="209"/>
                  </a:cubicBezTo>
                  <a:cubicBezTo>
                    <a:pt x="1005" y="205"/>
                    <a:pt x="1002" y="202"/>
                    <a:pt x="1002" y="201"/>
                  </a:cubicBezTo>
                  <a:cubicBezTo>
                    <a:pt x="1002" y="201"/>
                    <a:pt x="1002" y="201"/>
                    <a:pt x="1002" y="201"/>
                  </a:cubicBezTo>
                  <a:cubicBezTo>
                    <a:pt x="1002" y="203"/>
                    <a:pt x="1011" y="214"/>
                    <a:pt x="1012" y="215"/>
                  </a:cubicBezTo>
                  <a:close/>
                  <a:moveTo>
                    <a:pt x="1011" y="213"/>
                  </a:moveTo>
                  <a:cubicBezTo>
                    <a:pt x="1009" y="210"/>
                    <a:pt x="1006" y="206"/>
                    <a:pt x="1004" y="203"/>
                  </a:cubicBezTo>
                  <a:cubicBezTo>
                    <a:pt x="1004" y="203"/>
                    <a:pt x="1004" y="203"/>
                    <a:pt x="1004" y="203"/>
                  </a:cubicBezTo>
                  <a:cubicBezTo>
                    <a:pt x="1003" y="202"/>
                    <a:pt x="1003" y="202"/>
                    <a:pt x="1002" y="201"/>
                  </a:cubicBezTo>
                  <a:cubicBezTo>
                    <a:pt x="1002" y="201"/>
                    <a:pt x="1002" y="201"/>
                    <a:pt x="1002" y="201"/>
                  </a:cubicBezTo>
                  <a:cubicBezTo>
                    <a:pt x="1003" y="202"/>
                    <a:pt x="1012" y="214"/>
                    <a:pt x="1013" y="215"/>
                  </a:cubicBezTo>
                  <a:cubicBezTo>
                    <a:pt x="1012" y="214"/>
                    <a:pt x="1012" y="213"/>
                    <a:pt x="1011" y="213"/>
                  </a:cubicBezTo>
                  <a:close/>
                  <a:moveTo>
                    <a:pt x="998" y="196"/>
                  </a:moveTo>
                  <a:cubicBezTo>
                    <a:pt x="996" y="193"/>
                    <a:pt x="993" y="190"/>
                    <a:pt x="990" y="187"/>
                  </a:cubicBezTo>
                  <a:cubicBezTo>
                    <a:pt x="990" y="186"/>
                    <a:pt x="990" y="186"/>
                    <a:pt x="990" y="186"/>
                  </a:cubicBezTo>
                  <a:cubicBezTo>
                    <a:pt x="990" y="186"/>
                    <a:pt x="989" y="185"/>
                    <a:pt x="989" y="185"/>
                  </a:cubicBezTo>
                  <a:cubicBezTo>
                    <a:pt x="989" y="185"/>
                    <a:pt x="989" y="185"/>
                    <a:pt x="989" y="185"/>
                  </a:cubicBezTo>
                  <a:cubicBezTo>
                    <a:pt x="989" y="186"/>
                    <a:pt x="999" y="197"/>
                    <a:pt x="1000" y="198"/>
                  </a:cubicBezTo>
                  <a:cubicBezTo>
                    <a:pt x="999" y="197"/>
                    <a:pt x="999" y="197"/>
                    <a:pt x="998" y="196"/>
                  </a:cubicBezTo>
                  <a:close/>
                  <a:moveTo>
                    <a:pt x="1036" y="250"/>
                  </a:moveTo>
                  <a:cubicBezTo>
                    <a:pt x="1036" y="249"/>
                    <a:pt x="1033" y="245"/>
                    <a:pt x="1032" y="244"/>
                  </a:cubicBezTo>
                  <a:cubicBezTo>
                    <a:pt x="1030" y="240"/>
                    <a:pt x="1027" y="236"/>
                    <a:pt x="1027" y="236"/>
                  </a:cubicBezTo>
                  <a:cubicBezTo>
                    <a:pt x="1027" y="236"/>
                    <a:pt x="1027" y="236"/>
                    <a:pt x="1027" y="236"/>
                  </a:cubicBezTo>
                  <a:cubicBezTo>
                    <a:pt x="1027" y="237"/>
                    <a:pt x="1035" y="250"/>
                    <a:pt x="1036" y="250"/>
                  </a:cubicBezTo>
                  <a:close/>
                  <a:moveTo>
                    <a:pt x="1023" y="232"/>
                  </a:moveTo>
                  <a:cubicBezTo>
                    <a:pt x="1023" y="232"/>
                    <a:pt x="1020" y="227"/>
                    <a:pt x="1019" y="226"/>
                  </a:cubicBezTo>
                  <a:cubicBezTo>
                    <a:pt x="1017" y="222"/>
                    <a:pt x="1014" y="219"/>
                    <a:pt x="1013" y="218"/>
                  </a:cubicBezTo>
                  <a:cubicBezTo>
                    <a:pt x="1013" y="218"/>
                    <a:pt x="1013" y="218"/>
                    <a:pt x="1013" y="218"/>
                  </a:cubicBezTo>
                  <a:cubicBezTo>
                    <a:pt x="1013" y="220"/>
                    <a:pt x="1022" y="232"/>
                    <a:pt x="1023" y="232"/>
                  </a:cubicBezTo>
                  <a:close/>
                  <a:moveTo>
                    <a:pt x="1024" y="232"/>
                  </a:moveTo>
                  <a:cubicBezTo>
                    <a:pt x="1024" y="232"/>
                    <a:pt x="1021" y="227"/>
                    <a:pt x="1020" y="226"/>
                  </a:cubicBezTo>
                  <a:cubicBezTo>
                    <a:pt x="1018" y="222"/>
                    <a:pt x="1015" y="219"/>
                    <a:pt x="1015" y="218"/>
                  </a:cubicBezTo>
                  <a:cubicBezTo>
                    <a:pt x="1015" y="218"/>
                    <a:pt x="1015" y="218"/>
                    <a:pt x="1015" y="218"/>
                  </a:cubicBezTo>
                  <a:cubicBezTo>
                    <a:pt x="1015" y="220"/>
                    <a:pt x="1024" y="232"/>
                    <a:pt x="1024" y="232"/>
                  </a:cubicBezTo>
                  <a:close/>
                  <a:moveTo>
                    <a:pt x="1034" y="250"/>
                  </a:moveTo>
                  <a:cubicBezTo>
                    <a:pt x="1035" y="249"/>
                    <a:pt x="1032" y="245"/>
                    <a:pt x="1031" y="244"/>
                  </a:cubicBezTo>
                  <a:cubicBezTo>
                    <a:pt x="1029" y="241"/>
                    <a:pt x="1026" y="236"/>
                    <a:pt x="1025" y="236"/>
                  </a:cubicBezTo>
                  <a:cubicBezTo>
                    <a:pt x="1025" y="236"/>
                    <a:pt x="1025" y="236"/>
                    <a:pt x="1025" y="236"/>
                  </a:cubicBezTo>
                  <a:cubicBezTo>
                    <a:pt x="1025" y="237"/>
                    <a:pt x="1033" y="250"/>
                    <a:pt x="1034" y="250"/>
                  </a:cubicBezTo>
                  <a:close/>
                  <a:moveTo>
                    <a:pt x="1024" y="230"/>
                  </a:moveTo>
                  <a:cubicBezTo>
                    <a:pt x="1022" y="227"/>
                    <a:pt x="1019" y="224"/>
                    <a:pt x="1017" y="220"/>
                  </a:cubicBezTo>
                  <a:cubicBezTo>
                    <a:pt x="1017" y="220"/>
                    <a:pt x="1017" y="220"/>
                    <a:pt x="1017" y="220"/>
                  </a:cubicBezTo>
                  <a:cubicBezTo>
                    <a:pt x="1016" y="219"/>
                    <a:pt x="1016" y="219"/>
                    <a:pt x="1015" y="218"/>
                  </a:cubicBezTo>
                  <a:cubicBezTo>
                    <a:pt x="1015" y="218"/>
                    <a:pt x="1015" y="218"/>
                    <a:pt x="1015" y="218"/>
                  </a:cubicBezTo>
                  <a:cubicBezTo>
                    <a:pt x="1016" y="219"/>
                    <a:pt x="1024" y="231"/>
                    <a:pt x="1025" y="232"/>
                  </a:cubicBezTo>
                  <a:cubicBezTo>
                    <a:pt x="1025" y="232"/>
                    <a:pt x="1025" y="232"/>
                    <a:pt x="1024" y="230"/>
                  </a:cubicBezTo>
                  <a:close/>
                  <a:moveTo>
                    <a:pt x="129" y="192"/>
                  </a:moveTo>
                  <a:cubicBezTo>
                    <a:pt x="130" y="191"/>
                    <a:pt x="134" y="186"/>
                    <a:pt x="135" y="185"/>
                  </a:cubicBezTo>
                  <a:cubicBezTo>
                    <a:pt x="135" y="185"/>
                    <a:pt x="135" y="185"/>
                    <a:pt x="135" y="185"/>
                  </a:cubicBezTo>
                  <a:cubicBezTo>
                    <a:pt x="133" y="186"/>
                    <a:pt x="125" y="197"/>
                    <a:pt x="124" y="198"/>
                  </a:cubicBezTo>
                  <a:cubicBezTo>
                    <a:pt x="124" y="198"/>
                    <a:pt x="124" y="198"/>
                    <a:pt x="129" y="192"/>
                  </a:cubicBezTo>
                  <a:close/>
                  <a:moveTo>
                    <a:pt x="990" y="201"/>
                  </a:moveTo>
                  <a:cubicBezTo>
                    <a:pt x="988" y="203"/>
                    <a:pt x="999" y="215"/>
                    <a:pt x="1000" y="215"/>
                  </a:cubicBezTo>
                  <a:cubicBezTo>
                    <a:pt x="1001" y="215"/>
                    <a:pt x="1000" y="212"/>
                    <a:pt x="997" y="209"/>
                  </a:cubicBezTo>
                  <a:cubicBezTo>
                    <a:pt x="995" y="205"/>
                    <a:pt x="991" y="201"/>
                    <a:pt x="990" y="201"/>
                  </a:cubicBezTo>
                  <a:close/>
                  <a:moveTo>
                    <a:pt x="958" y="169"/>
                  </a:moveTo>
                  <a:cubicBezTo>
                    <a:pt x="957" y="170"/>
                    <a:pt x="960" y="173"/>
                    <a:pt x="962" y="176"/>
                  </a:cubicBezTo>
                  <a:cubicBezTo>
                    <a:pt x="965" y="179"/>
                    <a:pt x="968" y="181"/>
                    <a:pt x="969" y="181"/>
                  </a:cubicBezTo>
                  <a:cubicBezTo>
                    <a:pt x="970" y="181"/>
                    <a:pt x="969" y="179"/>
                    <a:pt x="966" y="176"/>
                  </a:cubicBezTo>
                  <a:cubicBezTo>
                    <a:pt x="963" y="173"/>
                    <a:pt x="959" y="169"/>
                    <a:pt x="958" y="169"/>
                  </a:cubicBezTo>
                  <a:close/>
                  <a:moveTo>
                    <a:pt x="963" y="169"/>
                  </a:moveTo>
                  <a:cubicBezTo>
                    <a:pt x="962" y="170"/>
                    <a:pt x="965" y="173"/>
                    <a:pt x="967" y="176"/>
                  </a:cubicBezTo>
                  <a:cubicBezTo>
                    <a:pt x="970" y="179"/>
                    <a:pt x="973" y="181"/>
                    <a:pt x="974" y="181"/>
                  </a:cubicBezTo>
                  <a:cubicBezTo>
                    <a:pt x="975" y="181"/>
                    <a:pt x="973" y="179"/>
                    <a:pt x="970" y="176"/>
                  </a:cubicBezTo>
                  <a:cubicBezTo>
                    <a:pt x="968" y="173"/>
                    <a:pt x="964" y="169"/>
                    <a:pt x="963" y="169"/>
                  </a:cubicBezTo>
                  <a:close/>
                  <a:moveTo>
                    <a:pt x="928" y="145"/>
                  </a:moveTo>
                  <a:cubicBezTo>
                    <a:pt x="931" y="148"/>
                    <a:pt x="934" y="150"/>
                    <a:pt x="936" y="150"/>
                  </a:cubicBezTo>
                  <a:cubicBezTo>
                    <a:pt x="937" y="150"/>
                    <a:pt x="935" y="148"/>
                    <a:pt x="932" y="145"/>
                  </a:cubicBezTo>
                  <a:cubicBezTo>
                    <a:pt x="929" y="142"/>
                    <a:pt x="925" y="138"/>
                    <a:pt x="924" y="139"/>
                  </a:cubicBezTo>
                  <a:cubicBezTo>
                    <a:pt x="923" y="139"/>
                    <a:pt x="926" y="142"/>
                    <a:pt x="928" y="145"/>
                  </a:cubicBezTo>
                  <a:close/>
                  <a:moveTo>
                    <a:pt x="943" y="160"/>
                  </a:moveTo>
                  <a:cubicBezTo>
                    <a:pt x="945" y="163"/>
                    <a:pt x="949" y="166"/>
                    <a:pt x="950" y="166"/>
                  </a:cubicBezTo>
                  <a:cubicBezTo>
                    <a:pt x="951" y="166"/>
                    <a:pt x="949" y="163"/>
                    <a:pt x="947" y="160"/>
                  </a:cubicBezTo>
                  <a:cubicBezTo>
                    <a:pt x="944" y="157"/>
                    <a:pt x="940" y="153"/>
                    <a:pt x="938" y="153"/>
                  </a:cubicBezTo>
                  <a:cubicBezTo>
                    <a:pt x="938" y="154"/>
                    <a:pt x="940" y="157"/>
                    <a:pt x="943" y="160"/>
                  </a:cubicBezTo>
                  <a:close/>
                  <a:moveTo>
                    <a:pt x="948" y="160"/>
                  </a:moveTo>
                  <a:cubicBezTo>
                    <a:pt x="951" y="163"/>
                    <a:pt x="954" y="166"/>
                    <a:pt x="955" y="166"/>
                  </a:cubicBezTo>
                  <a:cubicBezTo>
                    <a:pt x="956" y="166"/>
                    <a:pt x="955" y="163"/>
                    <a:pt x="952" y="160"/>
                  </a:cubicBezTo>
                  <a:cubicBezTo>
                    <a:pt x="949" y="157"/>
                    <a:pt x="945" y="153"/>
                    <a:pt x="944" y="153"/>
                  </a:cubicBezTo>
                  <a:cubicBezTo>
                    <a:pt x="943" y="154"/>
                    <a:pt x="946" y="157"/>
                    <a:pt x="948" y="160"/>
                  </a:cubicBezTo>
                  <a:close/>
                  <a:moveTo>
                    <a:pt x="929" y="139"/>
                  </a:moveTo>
                  <a:cubicBezTo>
                    <a:pt x="928" y="139"/>
                    <a:pt x="931" y="142"/>
                    <a:pt x="934" y="145"/>
                  </a:cubicBezTo>
                  <a:cubicBezTo>
                    <a:pt x="937" y="148"/>
                    <a:pt x="940" y="150"/>
                    <a:pt x="941" y="150"/>
                  </a:cubicBezTo>
                  <a:cubicBezTo>
                    <a:pt x="942" y="150"/>
                    <a:pt x="940" y="148"/>
                    <a:pt x="937" y="145"/>
                  </a:cubicBezTo>
                  <a:cubicBezTo>
                    <a:pt x="934" y="142"/>
                    <a:pt x="930" y="138"/>
                    <a:pt x="929" y="139"/>
                  </a:cubicBezTo>
                  <a:close/>
                  <a:moveTo>
                    <a:pt x="985" y="201"/>
                  </a:moveTo>
                  <a:cubicBezTo>
                    <a:pt x="984" y="202"/>
                    <a:pt x="985" y="205"/>
                    <a:pt x="988" y="209"/>
                  </a:cubicBezTo>
                  <a:cubicBezTo>
                    <a:pt x="991" y="212"/>
                    <a:pt x="994" y="215"/>
                    <a:pt x="995" y="215"/>
                  </a:cubicBezTo>
                  <a:cubicBezTo>
                    <a:pt x="996" y="215"/>
                    <a:pt x="995" y="212"/>
                    <a:pt x="992" y="209"/>
                  </a:cubicBezTo>
                  <a:cubicBezTo>
                    <a:pt x="990" y="205"/>
                    <a:pt x="986" y="201"/>
                    <a:pt x="985" y="201"/>
                  </a:cubicBezTo>
                  <a:close/>
                  <a:moveTo>
                    <a:pt x="948" y="153"/>
                  </a:moveTo>
                  <a:cubicBezTo>
                    <a:pt x="948" y="154"/>
                    <a:pt x="951" y="157"/>
                    <a:pt x="953" y="160"/>
                  </a:cubicBezTo>
                  <a:cubicBezTo>
                    <a:pt x="956" y="163"/>
                    <a:pt x="959" y="166"/>
                    <a:pt x="960" y="166"/>
                  </a:cubicBezTo>
                  <a:cubicBezTo>
                    <a:pt x="961" y="166"/>
                    <a:pt x="959" y="163"/>
                    <a:pt x="956" y="160"/>
                  </a:cubicBezTo>
                  <a:cubicBezTo>
                    <a:pt x="953" y="157"/>
                    <a:pt x="949" y="153"/>
                    <a:pt x="948" y="153"/>
                  </a:cubicBezTo>
                  <a:close/>
                  <a:moveTo>
                    <a:pt x="972" y="185"/>
                  </a:moveTo>
                  <a:cubicBezTo>
                    <a:pt x="971" y="186"/>
                    <a:pt x="973" y="189"/>
                    <a:pt x="976" y="192"/>
                  </a:cubicBezTo>
                  <a:cubicBezTo>
                    <a:pt x="978" y="195"/>
                    <a:pt x="981" y="198"/>
                    <a:pt x="982" y="198"/>
                  </a:cubicBezTo>
                  <a:cubicBezTo>
                    <a:pt x="983" y="198"/>
                    <a:pt x="982" y="195"/>
                    <a:pt x="979" y="192"/>
                  </a:cubicBezTo>
                  <a:cubicBezTo>
                    <a:pt x="977" y="189"/>
                    <a:pt x="973" y="185"/>
                    <a:pt x="972" y="185"/>
                  </a:cubicBezTo>
                  <a:close/>
                  <a:moveTo>
                    <a:pt x="977" y="185"/>
                  </a:moveTo>
                  <a:cubicBezTo>
                    <a:pt x="975" y="187"/>
                    <a:pt x="986" y="198"/>
                    <a:pt x="987" y="198"/>
                  </a:cubicBezTo>
                  <a:cubicBezTo>
                    <a:pt x="988" y="198"/>
                    <a:pt x="987" y="195"/>
                    <a:pt x="984" y="192"/>
                  </a:cubicBezTo>
                  <a:cubicBezTo>
                    <a:pt x="982" y="189"/>
                    <a:pt x="978" y="185"/>
                    <a:pt x="977" y="185"/>
                  </a:cubicBezTo>
                  <a:close/>
                  <a:moveTo>
                    <a:pt x="123" y="236"/>
                  </a:moveTo>
                  <a:cubicBezTo>
                    <a:pt x="118" y="237"/>
                    <a:pt x="112" y="249"/>
                    <a:pt x="114" y="250"/>
                  </a:cubicBezTo>
                  <a:cubicBezTo>
                    <a:pt x="115" y="250"/>
                    <a:pt x="118" y="248"/>
                    <a:pt x="120" y="244"/>
                  </a:cubicBezTo>
                  <a:cubicBezTo>
                    <a:pt x="123" y="240"/>
                    <a:pt x="125" y="236"/>
                    <a:pt x="123" y="236"/>
                  </a:cubicBezTo>
                  <a:close/>
                  <a:moveTo>
                    <a:pt x="307" y="91"/>
                  </a:moveTo>
                  <a:cubicBezTo>
                    <a:pt x="310" y="88"/>
                    <a:pt x="312" y="85"/>
                    <a:pt x="310" y="85"/>
                  </a:cubicBezTo>
                  <a:cubicBezTo>
                    <a:pt x="310" y="85"/>
                    <a:pt x="310" y="85"/>
                    <a:pt x="310" y="85"/>
                  </a:cubicBezTo>
                  <a:cubicBezTo>
                    <a:pt x="305" y="86"/>
                    <a:pt x="297" y="94"/>
                    <a:pt x="298" y="95"/>
                  </a:cubicBezTo>
                  <a:cubicBezTo>
                    <a:pt x="300" y="95"/>
                    <a:pt x="303" y="93"/>
                    <a:pt x="307" y="91"/>
                  </a:cubicBezTo>
                  <a:close/>
                  <a:moveTo>
                    <a:pt x="352" y="47"/>
                  </a:moveTo>
                  <a:cubicBezTo>
                    <a:pt x="355" y="45"/>
                    <a:pt x="358" y="43"/>
                    <a:pt x="358" y="42"/>
                  </a:cubicBezTo>
                  <a:cubicBezTo>
                    <a:pt x="357" y="42"/>
                    <a:pt x="357" y="42"/>
                    <a:pt x="357" y="42"/>
                  </a:cubicBezTo>
                  <a:cubicBezTo>
                    <a:pt x="353" y="43"/>
                    <a:pt x="343" y="49"/>
                    <a:pt x="344" y="50"/>
                  </a:cubicBezTo>
                  <a:cubicBezTo>
                    <a:pt x="345" y="50"/>
                    <a:pt x="348" y="49"/>
                    <a:pt x="352" y="47"/>
                  </a:cubicBezTo>
                  <a:close/>
                  <a:moveTo>
                    <a:pt x="343" y="56"/>
                  </a:moveTo>
                  <a:cubicBezTo>
                    <a:pt x="346" y="54"/>
                    <a:pt x="348" y="52"/>
                    <a:pt x="348" y="52"/>
                  </a:cubicBezTo>
                  <a:cubicBezTo>
                    <a:pt x="347" y="52"/>
                    <a:pt x="347" y="52"/>
                    <a:pt x="347" y="52"/>
                  </a:cubicBezTo>
                  <a:cubicBezTo>
                    <a:pt x="343" y="53"/>
                    <a:pt x="334" y="59"/>
                    <a:pt x="335" y="60"/>
                  </a:cubicBezTo>
                  <a:cubicBezTo>
                    <a:pt x="335" y="61"/>
                    <a:pt x="339" y="59"/>
                    <a:pt x="343" y="56"/>
                  </a:cubicBezTo>
                  <a:close/>
                  <a:moveTo>
                    <a:pt x="382" y="25"/>
                  </a:moveTo>
                  <a:cubicBezTo>
                    <a:pt x="382" y="25"/>
                    <a:pt x="382" y="25"/>
                    <a:pt x="382" y="25"/>
                  </a:cubicBezTo>
                  <a:cubicBezTo>
                    <a:pt x="379" y="26"/>
                    <a:pt x="368" y="31"/>
                    <a:pt x="368" y="32"/>
                  </a:cubicBezTo>
                  <a:cubicBezTo>
                    <a:pt x="369" y="32"/>
                    <a:pt x="374" y="29"/>
                    <a:pt x="376" y="29"/>
                  </a:cubicBezTo>
                  <a:cubicBezTo>
                    <a:pt x="377" y="28"/>
                    <a:pt x="382" y="26"/>
                    <a:pt x="382" y="25"/>
                  </a:cubicBezTo>
                  <a:close/>
                  <a:moveTo>
                    <a:pt x="285" y="108"/>
                  </a:moveTo>
                  <a:cubicBezTo>
                    <a:pt x="286" y="108"/>
                    <a:pt x="290" y="106"/>
                    <a:pt x="293" y="103"/>
                  </a:cubicBezTo>
                  <a:cubicBezTo>
                    <a:pt x="297" y="100"/>
                    <a:pt x="298" y="98"/>
                    <a:pt x="296" y="98"/>
                  </a:cubicBezTo>
                  <a:cubicBezTo>
                    <a:pt x="296" y="98"/>
                    <a:pt x="296" y="98"/>
                    <a:pt x="296" y="98"/>
                  </a:cubicBezTo>
                  <a:cubicBezTo>
                    <a:pt x="291" y="99"/>
                    <a:pt x="283" y="107"/>
                    <a:pt x="285" y="108"/>
                  </a:cubicBezTo>
                  <a:close/>
                  <a:moveTo>
                    <a:pt x="350" y="40"/>
                  </a:moveTo>
                  <a:cubicBezTo>
                    <a:pt x="351" y="41"/>
                    <a:pt x="356" y="39"/>
                    <a:pt x="358" y="37"/>
                  </a:cubicBezTo>
                  <a:cubicBezTo>
                    <a:pt x="359" y="37"/>
                    <a:pt x="364" y="34"/>
                    <a:pt x="365" y="34"/>
                  </a:cubicBezTo>
                  <a:cubicBezTo>
                    <a:pt x="365" y="33"/>
                    <a:pt x="364" y="33"/>
                    <a:pt x="364" y="33"/>
                  </a:cubicBezTo>
                  <a:cubicBezTo>
                    <a:pt x="361" y="34"/>
                    <a:pt x="351" y="39"/>
                    <a:pt x="350" y="40"/>
                  </a:cubicBezTo>
                  <a:close/>
                  <a:moveTo>
                    <a:pt x="360" y="34"/>
                  </a:moveTo>
                  <a:cubicBezTo>
                    <a:pt x="360" y="33"/>
                    <a:pt x="360" y="33"/>
                    <a:pt x="360" y="33"/>
                  </a:cubicBezTo>
                  <a:cubicBezTo>
                    <a:pt x="357" y="34"/>
                    <a:pt x="346" y="39"/>
                    <a:pt x="346" y="40"/>
                  </a:cubicBezTo>
                  <a:cubicBezTo>
                    <a:pt x="347" y="41"/>
                    <a:pt x="352" y="38"/>
                    <a:pt x="354" y="37"/>
                  </a:cubicBezTo>
                  <a:cubicBezTo>
                    <a:pt x="354" y="37"/>
                    <a:pt x="360" y="34"/>
                    <a:pt x="360" y="34"/>
                  </a:cubicBezTo>
                  <a:close/>
                  <a:moveTo>
                    <a:pt x="828" y="56"/>
                  </a:moveTo>
                  <a:cubicBezTo>
                    <a:pt x="825" y="54"/>
                    <a:pt x="820" y="52"/>
                    <a:pt x="820" y="52"/>
                  </a:cubicBezTo>
                  <a:cubicBezTo>
                    <a:pt x="820" y="52"/>
                    <a:pt x="820" y="52"/>
                    <a:pt x="820" y="52"/>
                  </a:cubicBezTo>
                  <a:cubicBezTo>
                    <a:pt x="820" y="53"/>
                    <a:pt x="833" y="60"/>
                    <a:pt x="834" y="60"/>
                  </a:cubicBezTo>
                  <a:cubicBezTo>
                    <a:pt x="834" y="60"/>
                    <a:pt x="829" y="57"/>
                    <a:pt x="828" y="56"/>
                  </a:cubicBezTo>
                  <a:close/>
                  <a:moveTo>
                    <a:pt x="280" y="71"/>
                  </a:moveTo>
                  <a:cubicBezTo>
                    <a:pt x="281" y="71"/>
                    <a:pt x="285" y="69"/>
                    <a:pt x="288" y="67"/>
                  </a:cubicBezTo>
                  <a:cubicBezTo>
                    <a:pt x="289" y="67"/>
                    <a:pt x="294" y="63"/>
                    <a:pt x="295" y="62"/>
                  </a:cubicBezTo>
                  <a:cubicBezTo>
                    <a:pt x="294" y="62"/>
                    <a:pt x="294" y="62"/>
                    <a:pt x="294" y="62"/>
                  </a:cubicBezTo>
                  <a:cubicBezTo>
                    <a:pt x="291" y="63"/>
                    <a:pt x="280" y="70"/>
                    <a:pt x="280" y="71"/>
                  </a:cubicBezTo>
                  <a:close/>
                  <a:moveTo>
                    <a:pt x="816" y="49"/>
                  </a:moveTo>
                  <a:cubicBezTo>
                    <a:pt x="813" y="47"/>
                    <a:pt x="809" y="45"/>
                    <a:pt x="805" y="43"/>
                  </a:cubicBezTo>
                  <a:cubicBezTo>
                    <a:pt x="805" y="43"/>
                    <a:pt x="805" y="43"/>
                    <a:pt x="805" y="43"/>
                  </a:cubicBezTo>
                  <a:cubicBezTo>
                    <a:pt x="804" y="43"/>
                    <a:pt x="804" y="42"/>
                    <a:pt x="803" y="42"/>
                  </a:cubicBezTo>
                  <a:cubicBezTo>
                    <a:pt x="808" y="45"/>
                    <a:pt x="813" y="47"/>
                    <a:pt x="818" y="50"/>
                  </a:cubicBezTo>
                  <a:cubicBezTo>
                    <a:pt x="818" y="50"/>
                    <a:pt x="817" y="49"/>
                    <a:pt x="816" y="49"/>
                  </a:cubicBezTo>
                  <a:close/>
                  <a:moveTo>
                    <a:pt x="396" y="25"/>
                  </a:moveTo>
                  <a:cubicBezTo>
                    <a:pt x="392" y="26"/>
                    <a:pt x="382" y="31"/>
                    <a:pt x="383" y="32"/>
                  </a:cubicBezTo>
                  <a:cubicBezTo>
                    <a:pt x="383" y="32"/>
                    <a:pt x="388" y="30"/>
                    <a:pt x="390" y="29"/>
                  </a:cubicBezTo>
                  <a:cubicBezTo>
                    <a:pt x="391" y="28"/>
                    <a:pt x="396" y="26"/>
                    <a:pt x="396" y="25"/>
                  </a:cubicBezTo>
                  <a:cubicBezTo>
                    <a:pt x="396" y="25"/>
                    <a:pt x="396" y="25"/>
                    <a:pt x="396" y="25"/>
                  </a:cubicBezTo>
                  <a:close/>
                  <a:moveTo>
                    <a:pt x="271" y="71"/>
                  </a:moveTo>
                  <a:cubicBezTo>
                    <a:pt x="272" y="71"/>
                    <a:pt x="276" y="69"/>
                    <a:pt x="279" y="67"/>
                  </a:cubicBezTo>
                  <a:cubicBezTo>
                    <a:pt x="279" y="67"/>
                    <a:pt x="285" y="63"/>
                    <a:pt x="286" y="62"/>
                  </a:cubicBezTo>
                  <a:cubicBezTo>
                    <a:pt x="286" y="62"/>
                    <a:pt x="286" y="62"/>
                    <a:pt x="286" y="62"/>
                  </a:cubicBezTo>
                  <a:cubicBezTo>
                    <a:pt x="283" y="63"/>
                    <a:pt x="272" y="70"/>
                    <a:pt x="271" y="71"/>
                  </a:cubicBezTo>
                  <a:close/>
                  <a:moveTo>
                    <a:pt x="812" y="71"/>
                  </a:moveTo>
                  <a:cubicBezTo>
                    <a:pt x="812" y="71"/>
                    <a:pt x="813" y="71"/>
                    <a:pt x="813" y="71"/>
                  </a:cubicBezTo>
                  <a:cubicBezTo>
                    <a:pt x="813" y="70"/>
                    <a:pt x="812" y="69"/>
                    <a:pt x="809" y="67"/>
                  </a:cubicBezTo>
                  <a:cubicBezTo>
                    <a:pt x="806" y="65"/>
                    <a:pt x="801" y="62"/>
                    <a:pt x="800" y="62"/>
                  </a:cubicBezTo>
                  <a:cubicBezTo>
                    <a:pt x="799" y="63"/>
                    <a:pt x="808" y="70"/>
                    <a:pt x="812" y="71"/>
                  </a:cubicBezTo>
                  <a:close/>
                  <a:moveTo>
                    <a:pt x="277" y="71"/>
                  </a:moveTo>
                  <a:cubicBezTo>
                    <a:pt x="277" y="71"/>
                    <a:pt x="277" y="71"/>
                    <a:pt x="277" y="71"/>
                  </a:cubicBezTo>
                  <a:cubicBezTo>
                    <a:pt x="278" y="71"/>
                    <a:pt x="283" y="68"/>
                    <a:pt x="284" y="67"/>
                  </a:cubicBezTo>
                  <a:cubicBezTo>
                    <a:pt x="285" y="67"/>
                    <a:pt x="290" y="63"/>
                    <a:pt x="291" y="62"/>
                  </a:cubicBezTo>
                  <a:cubicBezTo>
                    <a:pt x="291" y="62"/>
                    <a:pt x="291" y="62"/>
                    <a:pt x="291" y="62"/>
                  </a:cubicBezTo>
                  <a:cubicBezTo>
                    <a:pt x="291" y="62"/>
                    <a:pt x="291" y="62"/>
                    <a:pt x="291" y="62"/>
                  </a:cubicBezTo>
                  <a:cubicBezTo>
                    <a:pt x="288" y="63"/>
                    <a:pt x="278" y="70"/>
                    <a:pt x="277" y="71"/>
                  </a:cubicBezTo>
                  <a:close/>
                  <a:moveTo>
                    <a:pt x="274" y="71"/>
                  </a:moveTo>
                  <a:cubicBezTo>
                    <a:pt x="275" y="71"/>
                    <a:pt x="280" y="68"/>
                    <a:pt x="281" y="67"/>
                  </a:cubicBezTo>
                  <a:cubicBezTo>
                    <a:pt x="282" y="67"/>
                    <a:pt x="287" y="63"/>
                    <a:pt x="288" y="62"/>
                  </a:cubicBezTo>
                  <a:cubicBezTo>
                    <a:pt x="288" y="62"/>
                    <a:pt x="288" y="62"/>
                    <a:pt x="288" y="62"/>
                  </a:cubicBezTo>
                  <a:cubicBezTo>
                    <a:pt x="288" y="62"/>
                    <a:pt x="288" y="62"/>
                    <a:pt x="288" y="62"/>
                  </a:cubicBezTo>
                  <a:cubicBezTo>
                    <a:pt x="285" y="63"/>
                    <a:pt x="275" y="70"/>
                    <a:pt x="274" y="71"/>
                  </a:cubicBezTo>
                  <a:cubicBezTo>
                    <a:pt x="274" y="71"/>
                    <a:pt x="274" y="71"/>
                    <a:pt x="274" y="71"/>
                  </a:cubicBezTo>
                  <a:close/>
                  <a:moveTo>
                    <a:pt x="780" y="50"/>
                  </a:moveTo>
                  <a:cubicBezTo>
                    <a:pt x="781" y="50"/>
                    <a:pt x="781" y="50"/>
                    <a:pt x="781" y="49"/>
                  </a:cubicBezTo>
                  <a:cubicBezTo>
                    <a:pt x="781" y="49"/>
                    <a:pt x="779" y="48"/>
                    <a:pt x="777" y="47"/>
                  </a:cubicBezTo>
                  <a:cubicBezTo>
                    <a:pt x="773" y="44"/>
                    <a:pt x="769" y="42"/>
                    <a:pt x="768" y="42"/>
                  </a:cubicBezTo>
                  <a:cubicBezTo>
                    <a:pt x="766" y="43"/>
                    <a:pt x="777" y="49"/>
                    <a:pt x="780" y="50"/>
                  </a:cubicBezTo>
                  <a:close/>
                  <a:moveTo>
                    <a:pt x="774" y="50"/>
                  </a:moveTo>
                  <a:cubicBezTo>
                    <a:pt x="774" y="50"/>
                    <a:pt x="775" y="50"/>
                    <a:pt x="775" y="49"/>
                  </a:cubicBezTo>
                  <a:cubicBezTo>
                    <a:pt x="775" y="49"/>
                    <a:pt x="774" y="48"/>
                    <a:pt x="771" y="47"/>
                  </a:cubicBezTo>
                  <a:cubicBezTo>
                    <a:pt x="768" y="44"/>
                    <a:pt x="763" y="42"/>
                    <a:pt x="762" y="42"/>
                  </a:cubicBezTo>
                  <a:cubicBezTo>
                    <a:pt x="761" y="43"/>
                    <a:pt x="770" y="49"/>
                    <a:pt x="774" y="50"/>
                  </a:cubicBezTo>
                  <a:close/>
                  <a:moveTo>
                    <a:pt x="880" y="91"/>
                  </a:moveTo>
                  <a:cubicBezTo>
                    <a:pt x="877" y="88"/>
                    <a:pt x="872" y="85"/>
                    <a:pt x="872" y="85"/>
                  </a:cubicBezTo>
                  <a:cubicBezTo>
                    <a:pt x="872" y="86"/>
                    <a:pt x="885" y="95"/>
                    <a:pt x="885" y="95"/>
                  </a:cubicBezTo>
                  <a:cubicBezTo>
                    <a:pt x="885" y="94"/>
                    <a:pt x="882" y="92"/>
                    <a:pt x="880" y="91"/>
                  </a:cubicBezTo>
                  <a:close/>
                  <a:moveTo>
                    <a:pt x="848" y="71"/>
                  </a:moveTo>
                  <a:cubicBezTo>
                    <a:pt x="847" y="70"/>
                    <a:pt x="844" y="68"/>
                    <a:pt x="842" y="67"/>
                  </a:cubicBezTo>
                  <a:cubicBezTo>
                    <a:pt x="838" y="65"/>
                    <a:pt x="834" y="62"/>
                    <a:pt x="833" y="62"/>
                  </a:cubicBezTo>
                  <a:cubicBezTo>
                    <a:pt x="834" y="64"/>
                    <a:pt x="847" y="71"/>
                    <a:pt x="848" y="71"/>
                  </a:cubicBezTo>
                  <a:close/>
                  <a:moveTo>
                    <a:pt x="844" y="71"/>
                  </a:moveTo>
                  <a:cubicBezTo>
                    <a:pt x="844" y="70"/>
                    <a:pt x="841" y="68"/>
                    <a:pt x="839" y="67"/>
                  </a:cubicBezTo>
                  <a:cubicBezTo>
                    <a:pt x="835" y="65"/>
                    <a:pt x="831" y="62"/>
                    <a:pt x="830" y="62"/>
                  </a:cubicBezTo>
                  <a:cubicBezTo>
                    <a:pt x="830" y="64"/>
                    <a:pt x="843" y="71"/>
                    <a:pt x="844" y="71"/>
                  </a:cubicBezTo>
                  <a:close/>
                  <a:moveTo>
                    <a:pt x="862" y="83"/>
                  </a:moveTo>
                  <a:cubicBezTo>
                    <a:pt x="862" y="82"/>
                    <a:pt x="859" y="80"/>
                    <a:pt x="857" y="79"/>
                  </a:cubicBezTo>
                  <a:cubicBezTo>
                    <a:pt x="853" y="76"/>
                    <a:pt x="848" y="73"/>
                    <a:pt x="848" y="73"/>
                  </a:cubicBezTo>
                  <a:cubicBezTo>
                    <a:pt x="847" y="74"/>
                    <a:pt x="860" y="83"/>
                    <a:pt x="862" y="83"/>
                  </a:cubicBezTo>
                  <a:close/>
                  <a:moveTo>
                    <a:pt x="836" y="62"/>
                  </a:moveTo>
                  <a:cubicBezTo>
                    <a:pt x="837" y="63"/>
                    <a:pt x="849" y="71"/>
                    <a:pt x="850" y="71"/>
                  </a:cubicBezTo>
                  <a:cubicBezTo>
                    <a:pt x="850" y="71"/>
                    <a:pt x="850" y="71"/>
                    <a:pt x="850" y="71"/>
                  </a:cubicBezTo>
                  <a:cubicBezTo>
                    <a:pt x="850" y="70"/>
                    <a:pt x="845" y="67"/>
                    <a:pt x="845" y="67"/>
                  </a:cubicBezTo>
                  <a:cubicBezTo>
                    <a:pt x="841" y="65"/>
                    <a:pt x="836" y="62"/>
                    <a:pt x="836" y="62"/>
                  </a:cubicBezTo>
                  <a:close/>
                  <a:moveTo>
                    <a:pt x="830" y="60"/>
                  </a:moveTo>
                  <a:cubicBezTo>
                    <a:pt x="830" y="60"/>
                    <a:pt x="830" y="60"/>
                    <a:pt x="830" y="60"/>
                  </a:cubicBezTo>
                  <a:cubicBezTo>
                    <a:pt x="829" y="59"/>
                    <a:pt x="825" y="57"/>
                    <a:pt x="824" y="56"/>
                  </a:cubicBezTo>
                  <a:cubicBezTo>
                    <a:pt x="820" y="54"/>
                    <a:pt x="815" y="52"/>
                    <a:pt x="815" y="52"/>
                  </a:cubicBezTo>
                  <a:cubicBezTo>
                    <a:pt x="816" y="53"/>
                    <a:pt x="828" y="60"/>
                    <a:pt x="830" y="60"/>
                  </a:cubicBezTo>
                  <a:close/>
                  <a:moveTo>
                    <a:pt x="817" y="52"/>
                  </a:moveTo>
                  <a:cubicBezTo>
                    <a:pt x="818" y="53"/>
                    <a:pt x="831" y="60"/>
                    <a:pt x="832" y="60"/>
                  </a:cubicBezTo>
                  <a:cubicBezTo>
                    <a:pt x="832" y="60"/>
                    <a:pt x="832" y="60"/>
                    <a:pt x="832" y="60"/>
                  </a:cubicBezTo>
                  <a:cubicBezTo>
                    <a:pt x="832" y="59"/>
                    <a:pt x="829" y="58"/>
                    <a:pt x="826" y="56"/>
                  </a:cubicBezTo>
                  <a:cubicBezTo>
                    <a:pt x="823" y="54"/>
                    <a:pt x="818" y="52"/>
                    <a:pt x="817" y="52"/>
                  </a:cubicBezTo>
                  <a:close/>
                  <a:moveTo>
                    <a:pt x="863" y="79"/>
                  </a:moveTo>
                  <a:cubicBezTo>
                    <a:pt x="859" y="76"/>
                    <a:pt x="854" y="73"/>
                    <a:pt x="854" y="73"/>
                  </a:cubicBezTo>
                  <a:cubicBezTo>
                    <a:pt x="855" y="75"/>
                    <a:pt x="867" y="82"/>
                    <a:pt x="868" y="83"/>
                  </a:cubicBezTo>
                  <a:cubicBezTo>
                    <a:pt x="868" y="83"/>
                    <a:pt x="868" y="83"/>
                    <a:pt x="868" y="83"/>
                  </a:cubicBezTo>
                  <a:cubicBezTo>
                    <a:pt x="868" y="82"/>
                    <a:pt x="864" y="79"/>
                    <a:pt x="863" y="79"/>
                  </a:cubicBezTo>
                  <a:close/>
                  <a:moveTo>
                    <a:pt x="830" y="56"/>
                  </a:moveTo>
                  <a:cubicBezTo>
                    <a:pt x="826" y="54"/>
                    <a:pt x="822" y="52"/>
                    <a:pt x="821" y="52"/>
                  </a:cubicBezTo>
                  <a:cubicBezTo>
                    <a:pt x="821" y="52"/>
                    <a:pt x="821" y="52"/>
                    <a:pt x="821" y="52"/>
                  </a:cubicBezTo>
                  <a:cubicBezTo>
                    <a:pt x="822" y="53"/>
                    <a:pt x="835" y="60"/>
                    <a:pt x="836" y="60"/>
                  </a:cubicBezTo>
                  <a:cubicBezTo>
                    <a:pt x="836" y="60"/>
                    <a:pt x="830" y="56"/>
                    <a:pt x="830" y="56"/>
                  </a:cubicBezTo>
                  <a:close/>
                  <a:moveTo>
                    <a:pt x="882" y="95"/>
                  </a:moveTo>
                  <a:cubicBezTo>
                    <a:pt x="882" y="94"/>
                    <a:pt x="879" y="92"/>
                    <a:pt x="877" y="91"/>
                  </a:cubicBezTo>
                  <a:cubicBezTo>
                    <a:pt x="874" y="88"/>
                    <a:pt x="869" y="85"/>
                    <a:pt x="869" y="85"/>
                  </a:cubicBezTo>
                  <a:cubicBezTo>
                    <a:pt x="868" y="86"/>
                    <a:pt x="881" y="95"/>
                    <a:pt x="882" y="95"/>
                  </a:cubicBezTo>
                  <a:close/>
                  <a:moveTo>
                    <a:pt x="825" y="71"/>
                  </a:moveTo>
                  <a:cubicBezTo>
                    <a:pt x="825" y="71"/>
                    <a:pt x="826" y="71"/>
                    <a:pt x="825" y="71"/>
                  </a:cubicBezTo>
                  <a:cubicBezTo>
                    <a:pt x="825" y="70"/>
                    <a:pt x="824" y="69"/>
                    <a:pt x="821" y="67"/>
                  </a:cubicBezTo>
                  <a:cubicBezTo>
                    <a:pt x="818" y="65"/>
                    <a:pt x="813" y="62"/>
                    <a:pt x="812" y="62"/>
                  </a:cubicBezTo>
                  <a:cubicBezTo>
                    <a:pt x="811" y="63"/>
                    <a:pt x="823" y="71"/>
                    <a:pt x="825" y="71"/>
                  </a:cubicBezTo>
                  <a:close/>
                  <a:moveTo>
                    <a:pt x="878" y="95"/>
                  </a:moveTo>
                  <a:cubicBezTo>
                    <a:pt x="879" y="94"/>
                    <a:pt x="874" y="91"/>
                    <a:pt x="874" y="91"/>
                  </a:cubicBezTo>
                  <a:cubicBezTo>
                    <a:pt x="870" y="88"/>
                    <a:pt x="866" y="85"/>
                    <a:pt x="865" y="85"/>
                  </a:cubicBezTo>
                  <a:cubicBezTo>
                    <a:pt x="864" y="86"/>
                    <a:pt x="877" y="95"/>
                    <a:pt x="878" y="95"/>
                  </a:cubicBezTo>
                  <a:close/>
                  <a:moveTo>
                    <a:pt x="865" y="83"/>
                  </a:moveTo>
                  <a:cubicBezTo>
                    <a:pt x="865" y="82"/>
                    <a:pt x="862" y="80"/>
                    <a:pt x="860" y="79"/>
                  </a:cubicBezTo>
                  <a:cubicBezTo>
                    <a:pt x="856" y="76"/>
                    <a:pt x="852" y="73"/>
                    <a:pt x="851" y="73"/>
                  </a:cubicBezTo>
                  <a:cubicBezTo>
                    <a:pt x="852" y="75"/>
                    <a:pt x="864" y="83"/>
                    <a:pt x="865" y="83"/>
                  </a:cubicBezTo>
                  <a:close/>
                  <a:moveTo>
                    <a:pt x="259" y="98"/>
                  </a:moveTo>
                  <a:cubicBezTo>
                    <a:pt x="259" y="98"/>
                    <a:pt x="259" y="98"/>
                    <a:pt x="258" y="98"/>
                  </a:cubicBezTo>
                  <a:cubicBezTo>
                    <a:pt x="254" y="99"/>
                    <a:pt x="245" y="107"/>
                    <a:pt x="246" y="108"/>
                  </a:cubicBezTo>
                  <a:cubicBezTo>
                    <a:pt x="247" y="108"/>
                    <a:pt x="251" y="106"/>
                    <a:pt x="254" y="103"/>
                  </a:cubicBezTo>
                  <a:cubicBezTo>
                    <a:pt x="258" y="100"/>
                    <a:pt x="260" y="98"/>
                    <a:pt x="259" y="98"/>
                  </a:cubicBezTo>
                  <a:close/>
                  <a:moveTo>
                    <a:pt x="372" y="32"/>
                  </a:moveTo>
                  <a:cubicBezTo>
                    <a:pt x="373" y="32"/>
                    <a:pt x="378" y="30"/>
                    <a:pt x="380" y="29"/>
                  </a:cubicBezTo>
                  <a:cubicBezTo>
                    <a:pt x="381" y="28"/>
                    <a:pt x="386" y="26"/>
                    <a:pt x="387" y="25"/>
                  </a:cubicBezTo>
                  <a:cubicBezTo>
                    <a:pt x="387" y="25"/>
                    <a:pt x="386" y="25"/>
                    <a:pt x="386" y="25"/>
                  </a:cubicBezTo>
                  <a:cubicBezTo>
                    <a:pt x="383" y="26"/>
                    <a:pt x="373" y="31"/>
                    <a:pt x="372" y="32"/>
                  </a:cubicBezTo>
                  <a:close/>
                  <a:moveTo>
                    <a:pt x="265" y="98"/>
                  </a:moveTo>
                  <a:cubicBezTo>
                    <a:pt x="265" y="98"/>
                    <a:pt x="265" y="98"/>
                    <a:pt x="265" y="98"/>
                  </a:cubicBezTo>
                  <a:cubicBezTo>
                    <a:pt x="260" y="99"/>
                    <a:pt x="252" y="107"/>
                    <a:pt x="253" y="108"/>
                  </a:cubicBezTo>
                  <a:cubicBezTo>
                    <a:pt x="253" y="108"/>
                    <a:pt x="257" y="106"/>
                    <a:pt x="261" y="103"/>
                  </a:cubicBezTo>
                  <a:cubicBezTo>
                    <a:pt x="265" y="100"/>
                    <a:pt x="266" y="98"/>
                    <a:pt x="265" y="98"/>
                  </a:cubicBezTo>
                  <a:close/>
                  <a:moveTo>
                    <a:pt x="399" y="24"/>
                  </a:moveTo>
                  <a:cubicBezTo>
                    <a:pt x="400" y="24"/>
                    <a:pt x="405" y="22"/>
                    <a:pt x="407" y="21"/>
                  </a:cubicBezTo>
                  <a:cubicBezTo>
                    <a:pt x="408" y="21"/>
                    <a:pt x="413" y="18"/>
                    <a:pt x="413" y="18"/>
                  </a:cubicBezTo>
                  <a:cubicBezTo>
                    <a:pt x="413" y="18"/>
                    <a:pt x="413" y="18"/>
                    <a:pt x="413" y="18"/>
                  </a:cubicBezTo>
                  <a:cubicBezTo>
                    <a:pt x="409" y="18"/>
                    <a:pt x="399" y="23"/>
                    <a:pt x="399" y="24"/>
                  </a:cubicBezTo>
                  <a:close/>
                  <a:moveTo>
                    <a:pt x="394" y="24"/>
                  </a:moveTo>
                  <a:cubicBezTo>
                    <a:pt x="395" y="24"/>
                    <a:pt x="400" y="22"/>
                    <a:pt x="402" y="21"/>
                  </a:cubicBezTo>
                  <a:cubicBezTo>
                    <a:pt x="403" y="21"/>
                    <a:pt x="408" y="18"/>
                    <a:pt x="409" y="18"/>
                  </a:cubicBezTo>
                  <a:cubicBezTo>
                    <a:pt x="408" y="18"/>
                    <a:pt x="408" y="18"/>
                    <a:pt x="408" y="18"/>
                  </a:cubicBezTo>
                  <a:cubicBezTo>
                    <a:pt x="405" y="18"/>
                    <a:pt x="395" y="23"/>
                    <a:pt x="394" y="24"/>
                  </a:cubicBezTo>
                  <a:close/>
                  <a:moveTo>
                    <a:pt x="819" y="71"/>
                  </a:moveTo>
                  <a:cubicBezTo>
                    <a:pt x="819" y="71"/>
                    <a:pt x="820" y="71"/>
                    <a:pt x="819" y="71"/>
                  </a:cubicBezTo>
                  <a:cubicBezTo>
                    <a:pt x="819" y="70"/>
                    <a:pt x="818" y="69"/>
                    <a:pt x="816" y="67"/>
                  </a:cubicBezTo>
                  <a:cubicBezTo>
                    <a:pt x="812" y="65"/>
                    <a:pt x="808" y="62"/>
                    <a:pt x="806" y="62"/>
                  </a:cubicBezTo>
                  <a:cubicBezTo>
                    <a:pt x="805" y="63"/>
                    <a:pt x="815" y="70"/>
                    <a:pt x="819" y="71"/>
                  </a:cubicBezTo>
                  <a:close/>
                  <a:moveTo>
                    <a:pt x="404" y="18"/>
                  </a:moveTo>
                  <a:cubicBezTo>
                    <a:pt x="404" y="18"/>
                    <a:pt x="404" y="18"/>
                    <a:pt x="404" y="18"/>
                  </a:cubicBezTo>
                  <a:cubicBezTo>
                    <a:pt x="401" y="18"/>
                    <a:pt x="390" y="23"/>
                    <a:pt x="390" y="24"/>
                  </a:cubicBezTo>
                  <a:cubicBezTo>
                    <a:pt x="391" y="24"/>
                    <a:pt x="396" y="22"/>
                    <a:pt x="398" y="21"/>
                  </a:cubicBezTo>
                  <a:cubicBezTo>
                    <a:pt x="399" y="21"/>
                    <a:pt x="404" y="18"/>
                    <a:pt x="404" y="18"/>
                  </a:cubicBezTo>
                  <a:close/>
                  <a:moveTo>
                    <a:pt x="404" y="24"/>
                  </a:moveTo>
                  <a:cubicBezTo>
                    <a:pt x="405" y="24"/>
                    <a:pt x="410" y="22"/>
                    <a:pt x="412" y="21"/>
                  </a:cubicBezTo>
                  <a:cubicBezTo>
                    <a:pt x="413" y="21"/>
                    <a:pt x="418" y="18"/>
                    <a:pt x="418" y="18"/>
                  </a:cubicBezTo>
                  <a:cubicBezTo>
                    <a:pt x="418" y="18"/>
                    <a:pt x="417" y="18"/>
                    <a:pt x="417" y="18"/>
                  </a:cubicBezTo>
                  <a:cubicBezTo>
                    <a:pt x="414" y="18"/>
                    <a:pt x="404" y="23"/>
                    <a:pt x="404" y="24"/>
                  </a:cubicBezTo>
                  <a:close/>
                  <a:moveTo>
                    <a:pt x="819" y="82"/>
                  </a:moveTo>
                  <a:cubicBezTo>
                    <a:pt x="821" y="83"/>
                    <a:pt x="822" y="83"/>
                    <a:pt x="821" y="82"/>
                  </a:cubicBezTo>
                  <a:cubicBezTo>
                    <a:pt x="821" y="81"/>
                    <a:pt x="820" y="80"/>
                    <a:pt x="818" y="79"/>
                  </a:cubicBezTo>
                  <a:cubicBezTo>
                    <a:pt x="815" y="76"/>
                    <a:pt x="810" y="73"/>
                    <a:pt x="809" y="73"/>
                  </a:cubicBezTo>
                  <a:cubicBezTo>
                    <a:pt x="807" y="74"/>
                    <a:pt x="815" y="81"/>
                    <a:pt x="819" y="82"/>
                  </a:cubicBezTo>
                  <a:close/>
                  <a:moveTo>
                    <a:pt x="827" y="83"/>
                  </a:moveTo>
                  <a:cubicBezTo>
                    <a:pt x="828" y="83"/>
                    <a:pt x="829" y="83"/>
                    <a:pt x="828" y="82"/>
                  </a:cubicBezTo>
                  <a:cubicBezTo>
                    <a:pt x="828" y="81"/>
                    <a:pt x="827" y="80"/>
                    <a:pt x="825" y="79"/>
                  </a:cubicBezTo>
                  <a:cubicBezTo>
                    <a:pt x="822" y="76"/>
                    <a:pt x="817" y="73"/>
                    <a:pt x="816" y="73"/>
                  </a:cubicBezTo>
                  <a:cubicBezTo>
                    <a:pt x="814" y="74"/>
                    <a:pt x="823" y="81"/>
                    <a:pt x="827" y="83"/>
                  </a:cubicBezTo>
                  <a:close/>
                  <a:moveTo>
                    <a:pt x="237" y="111"/>
                  </a:moveTo>
                  <a:cubicBezTo>
                    <a:pt x="233" y="112"/>
                    <a:pt x="223" y="121"/>
                    <a:pt x="225" y="121"/>
                  </a:cubicBezTo>
                  <a:cubicBezTo>
                    <a:pt x="226" y="122"/>
                    <a:pt x="229" y="120"/>
                    <a:pt x="233" y="117"/>
                  </a:cubicBezTo>
                  <a:cubicBezTo>
                    <a:pt x="236" y="113"/>
                    <a:pt x="238" y="111"/>
                    <a:pt x="237" y="111"/>
                  </a:cubicBezTo>
                  <a:cubicBezTo>
                    <a:pt x="237" y="111"/>
                    <a:pt x="237" y="111"/>
                    <a:pt x="237" y="111"/>
                  </a:cubicBezTo>
                  <a:close/>
                  <a:moveTo>
                    <a:pt x="243" y="111"/>
                  </a:moveTo>
                  <a:cubicBezTo>
                    <a:pt x="243" y="111"/>
                    <a:pt x="243" y="111"/>
                    <a:pt x="243" y="111"/>
                  </a:cubicBezTo>
                  <a:cubicBezTo>
                    <a:pt x="239" y="112"/>
                    <a:pt x="230" y="120"/>
                    <a:pt x="231" y="121"/>
                  </a:cubicBezTo>
                  <a:cubicBezTo>
                    <a:pt x="232" y="122"/>
                    <a:pt x="235" y="120"/>
                    <a:pt x="239" y="117"/>
                  </a:cubicBezTo>
                  <a:cubicBezTo>
                    <a:pt x="243" y="113"/>
                    <a:pt x="245" y="111"/>
                    <a:pt x="243" y="111"/>
                  </a:cubicBezTo>
                  <a:close/>
                  <a:moveTo>
                    <a:pt x="847" y="67"/>
                  </a:moveTo>
                  <a:cubicBezTo>
                    <a:pt x="843" y="65"/>
                    <a:pt x="839" y="63"/>
                    <a:pt x="838" y="62"/>
                  </a:cubicBezTo>
                  <a:cubicBezTo>
                    <a:pt x="838" y="62"/>
                    <a:pt x="838" y="62"/>
                    <a:pt x="838" y="62"/>
                  </a:cubicBezTo>
                  <a:cubicBezTo>
                    <a:pt x="839" y="63"/>
                    <a:pt x="852" y="71"/>
                    <a:pt x="853" y="71"/>
                  </a:cubicBezTo>
                  <a:cubicBezTo>
                    <a:pt x="853" y="71"/>
                    <a:pt x="847" y="67"/>
                    <a:pt x="847" y="67"/>
                  </a:cubicBezTo>
                  <a:close/>
                  <a:moveTo>
                    <a:pt x="873" y="93"/>
                  </a:moveTo>
                  <a:cubicBezTo>
                    <a:pt x="872" y="93"/>
                    <a:pt x="871" y="92"/>
                    <a:pt x="870" y="91"/>
                  </a:cubicBezTo>
                  <a:cubicBezTo>
                    <a:pt x="866" y="88"/>
                    <a:pt x="862" y="85"/>
                    <a:pt x="861" y="85"/>
                  </a:cubicBezTo>
                  <a:cubicBezTo>
                    <a:pt x="860" y="86"/>
                    <a:pt x="872" y="95"/>
                    <a:pt x="874" y="95"/>
                  </a:cubicBezTo>
                  <a:cubicBezTo>
                    <a:pt x="875" y="95"/>
                    <a:pt x="873" y="94"/>
                    <a:pt x="873" y="93"/>
                  </a:cubicBezTo>
                  <a:close/>
                  <a:moveTo>
                    <a:pt x="844" y="85"/>
                  </a:moveTo>
                  <a:cubicBezTo>
                    <a:pt x="843" y="86"/>
                    <a:pt x="853" y="94"/>
                    <a:pt x="857" y="95"/>
                  </a:cubicBezTo>
                  <a:cubicBezTo>
                    <a:pt x="857" y="95"/>
                    <a:pt x="858" y="95"/>
                    <a:pt x="857" y="94"/>
                  </a:cubicBezTo>
                  <a:cubicBezTo>
                    <a:pt x="857" y="93"/>
                    <a:pt x="855" y="92"/>
                    <a:pt x="854" y="91"/>
                  </a:cubicBezTo>
                  <a:cubicBezTo>
                    <a:pt x="850" y="88"/>
                    <a:pt x="846" y="85"/>
                    <a:pt x="844" y="85"/>
                  </a:cubicBezTo>
                  <a:close/>
                  <a:moveTo>
                    <a:pt x="885" y="108"/>
                  </a:moveTo>
                  <a:cubicBezTo>
                    <a:pt x="886" y="108"/>
                    <a:pt x="885" y="107"/>
                    <a:pt x="883" y="105"/>
                  </a:cubicBezTo>
                  <a:cubicBezTo>
                    <a:pt x="882" y="104"/>
                    <a:pt x="882" y="104"/>
                    <a:pt x="881" y="103"/>
                  </a:cubicBezTo>
                  <a:cubicBezTo>
                    <a:pt x="878" y="100"/>
                    <a:pt x="873" y="97"/>
                    <a:pt x="872" y="98"/>
                  </a:cubicBezTo>
                  <a:cubicBezTo>
                    <a:pt x="871" y="99"/>
                    <a:pt x="883" y="108"/>
                    <a:pt x="885" y="108"/>
                  </a:cubicBezTo>
                  <a:close/>
                  <a:moveTo>
                    <a:pt x="869" y="95"/>
                  </a:moveTo>
                  <a:cubicBezTo>
                    <a:pt x="869" y="95"/>
                    <a:pt x="869" y="94"/>
                    <a:pt x="868" y="93"/>
                  </a:cubicBezTo>
                  <a:cubicBezTo>
                    <a:pt x="867" y="92"/>
                    <a:pt x="866" y="91"/>
                    <a:pt x="865" y="91"/>
                  </a:cubicBezTo>
                  <a:cubicBezTo>
                    <a:pt x="861" y="88"/>
                    <a:pt x="857" y="85"/>
                    <a:pt x="856" y="85"/>
                  </a:cubicBezTo>
                  <a:cubicBezTo>
                    <a:pt x="855" y="86"/>
                    <a:pt x="867" y="95"/>
                    <a:pt x="869" y="95"/>
                  </a:cubicBezTo>
                  <a:close/>
                  <a:moveTo>
                    <a:pt x="888" y="105"/>
                  </a:moveTo>
                  <a:cubicBezTo>
                    <a:pt x="888" y="105"/>
                    <a:pt x="887" y="104"/>
                    <a:pt x="886" y="103"/>
                  </a:cubicBezTo>
                  <a:cubicBezTo>
                    <a:pt x="883" y="100"/>
                    <a:pt x="878" y="97"/>
                    <a:pt x="877" y="98"/>
                  </a:cubicBezTo>
                  <a:cubicBezTo>
                    <a:pt x="876" y="99"/>
                    <a:pt x="888" y="108"/>
                    <a:pt x="890" y="108"/>
                  </a:cubicBezTo>
                  <a:cubicBezTo>
                    <a:pt x="891" y="108"/>
                    <a:pt x="890" y="106"/>
                    <a:pt x="888" y="105"/>
                  </a:cubicBezTo>
                  <a:close/>
                  <a:moveTo>
                    <a:pt x="900" y="121"/>
                  </a:moveTo>
                  <a:cubicBezTo>
                    <a:pt x="900" y="121"/>
                    <a:pt x="901" y="121"/>
                    <a:pt x="900" y="120"/>
                  </a:cubicBezTo>
                  <a:cubicBezTo>
                    <a:pt x="900" y="119"/>
                    <a:pt x="898" y="118"/>
                    <a:pt x="897" y="117"/>
                  </a:cubicBezTo>
                  <a:cubicBezTo>
                    <a:pt x="894" y="114"/>
                    <a:pt x="889" y="110"/>
                    <a:pt x="888" y="111"/>
                  </a:cubicBezTo>
                  <a:cubicBezTo>
                    <a:pt x="886" y="112"/>
                    <a:pt x="898" y="121"/>
                    <a:pt x="900" y="121"/>
                  </a:cubicBezTo>
                  <a:close/>
                  <a:moveTo>
                    <a:pt x="228" y="98"/>
                  </a:moveTo>
                  <a:cubicBezTo>
                    <a:pt x="228" y="98"/>
                    <a:pt x="228" y="98"/>
                    <a:pt x="228" y="98"/>
                  </a:cubicBezTo>
                  <a:cubicBezTo>
                    <a:pt x="226" y="99"/>
                    <a:pt x="216" y="107"/>
                    <a:pt x="215" y="108"/>
                  </a:cubicBezTo>
                  <a:cubicBezTo>
                    <a:pt x="215" y="108"/>
                    <a:pt x="215" y="108"/>
                    <a:pt x="221" y="103"/>
                  </a:cubicBezTo>
                  <a:cubicBezTo>
                    <a:pt x="227" y="99"/>
                    <a:pt x="228" y="98"/>
                    <a:pt x="228" y="98"/>
                  </a:cubicBezTo>
                  <a:close/>
                  <a:moveTo>
                    <a:pt x="216" y="108"/>
                  </a:moveTo>
                  <a:cubicBezTo>
                    <a:pt x="216" y="108"/>
                    <a:pt x="218" y="106"/>
                    <a:pt x="222" y="103"/>
                  </a:cubicBezTo>
                  <a:cubicBezTo>
                    <a:pt x="224" y="102"/>
                    <a:pt x="229" y="98"/>
                    <a:pt x="229" y="98"/>
                  </a:cubicBezTo>
                  <a:cubicBezTo>
                    <a:pt x="229" y="98"/>
                    <a:pt x="229" y="98"/>
                    <a:pt x="229" y="98"/>
                  </a:cubicBezTo>
                  <a:cubicBezTo>
                    <a:pt x="227" y="99"/>
                    <a:pt x="216" y="107"/>
                    <a:pt x="216" y="108"/>
                  </a:cubicBezTo>
                  <a:close/>
                  <a:moveTo>
                    <a:pt x="906" y="121"/>
                  </a:moveTo>
                  <a:cubicBezTo>
                    <a:pt x="907" y="121"/>
                    <a:pt x="905" y="120"/>
                    <a:pt x="903" y="118"/>
                  </a:cubicBezTo>
                  <a:cubicBezTo>
                    <a:pt x="903" y="117"/>
                    <a:pt x="902" y="117"/>
                    <a:pt x="902" y="117"/>
                  </a:cubicBezTo>
                  <a:cubicBezTo>
                    <a:pt x="899" y="114"/>
                    <a:pt x="894" y="110"/>
                    <a:pt x="893" y="111"/>
                  </a:cubicBezTo>
                  <a:cubicBezTo>
                    <a:pt x="892" y="112"/>
                    <a:pt x="904" y="121"/>
                    <a:pt x="906" y="121"/>
                  </a:cubicBezTo>
                  <a:close/>
                  <a:moveTo>
                    <a:pt x="847" y="82"/>
                  </a:moveTo>
                  <a:cubicBezTo>
                    <a:pt x="847" y="82"/>
                    <a:pt x="846" y="80"/>
                    <a:pt x="843" y="79"/>
                  </a:cubicBezTo>
                  <a:cubicBezTo>
                    <a:pt x="840" y="76"/>
                    <a:pt x="835" y="73"/>
                    <a:pt x="834" y="73"/>
                  </a:cubicBezTo>
                  <a:cubicBezTo>
                    <a:pt x="833" y="74"/>
                    <a:pt x="845" y="82"/>
                    <a:pt x="847" y="83"/>
                  </a:cubicBezTo>
                  <a:cubicBezTo>
                    <a:pt x="848" y="83"/>
                    <a:pt x="848" y="83"/>
                    <a:pt x="847" y="82"/>
                  </a:cubicBezTo>
                  <a:close/>
                  <a:moveTo>
                    <a:pt x="211" y="111"/>
                  </a:moveTo>
                  <a:cubicBezTo>
                    <a:pt x="211" y="111"/>
                    <a:pt x="211" y="111"/>
                    <a:pt x="211" y="111"/>
                  </a:cubicBezTo>
                  <a:cubicBezTo>
                    <a:pt x="210" y="112"/>
                    <a:pt x="199" y="120"/>
                    <a:pt x="198" y="121"/>
                  </a:cubicBezTo>
                  <a:cubicBezTo>
                    <a:pt x="198" y="121"/>
                    <a:pt x="199" y="121"/>
                    <a:pt x="204" y="117"/>
                  </a:cubicBezTo>
                  <a:cubicBezTo>
                    <a:pt x="211" y="111"/>
                    <a:pt x="211" y="111"/>
                    <a:pt x="211" y="111"/>
                  </a:cubicBezTo>
                  <a:close/>
                  <a:moveTo>
                    <a:pt x="199" y="121"/>
                  </a:moveTo>
                  <a:cubicBezTo>
                    <a:pt x="199" y="121"/>
                    <a:pt x="203" y="119"/>
                    <a:pt x="205" y="117"/>
                  </a:cubicBezTo>
                  <a:cubicBezTo>
                    <a:pt x="206" y="116"/>
                    <a:pt x="212" y="111"/>
                    <a:pt x="212" y="111"/>
                  </a:cubicBezTo>
                  <a:cubicBezTo>
                    <a:pt x="212" y="111"/>
                    <a:pt x="212" y="111"/>
                    <a:pt x="212" y="111"/>
                  </a:cubicBezTo>
                  <a:cubicBezTo>
                    <a:pt x="210" y="112"/>
                    <a:pt x="200" y="120"/>
                    <a:pt x="199" y="121"/>
                  </a:cubicBezTo>
                  <a:close/>
                  <a:moveTo>
                    <a:pt x="923" y="120"/>
                  </a:moveTo>
                  <a:cubicBezTo>
                    <a:pt x="920" y="117"/>
                    <a:pt x="917" y="115"/>
                    <a:pt x="914" y="112"/>
                  </a:cubicBezTo>
                  <a:cubicBezTo>
                    <a:pt x="914" y="112"/>
                    <a:pt x="914" y="112"/>
                    <a:pt x="914" y="112"/>
                  </a:cubicBezTo>
                  <a:cubicBezTo>
                    <a:pt x="913" y="112"/>
                    <a:pt x="913" y="111"/>
                    <a:pt x="912" y="111"/>
                  </a:cubicBezTo>
                  <a:cubicBezTo>
                    <a:pt x="912" y="111"/>
                    <a:pt x="912" y="111"/>
                    <a:pt x="912" y="111"/>
                  </a:cubicBezTo>
                  <a:cubicBezTo>
                    <a:pt x="912" y="111"/>
                    <a:pt x="925" y="121"/>
                    <a:pt x="925" y="121"/>
                  </a:cubicBezTo>
                  <a:cubicBezTo>
                    <a:pt x="925" y="121"/>
                    <a:pt x="924" y="120"/>
                    <a:pt x="923" y="120"/>
                  </a:cubicBezTo>
                  <a:close/>
                  <a:moveTo>
                    <a:pt x="217" y="108"/>
                  </a:moveTo>
                  <a:cubicBezTo>
                    <a:pt x="218" y="108"/>
                    <a:pt x="222" y="105"/>
                    <a:pt x="224" y="103"/>
                  </a:cubicBezTo>
                  <a:cubicBezTo>
                    <a:pt x="224" y="103"/>
                    <a:pt x="230" y="98"/>
                    <a:pt x="231" y="98"/>
                  </a:cubicBezTo>
                  <a:cubicBezTo>
                    <a:pt x="231" y="98"/>
                    <a:pt x="230" y="98"/>
                    <a:pt x="230" y="98"/>
                  </a:cubicBezTo>
                  <a:cubicBezTo>
                    <a:pt x="228" y="99"/>
                    <a:pt x="218" y="107"/>
                    <a:pt x="217" y="108"/>
                  </a:cubicBezTo>
                  <a:close/>
                  <a:moveTo>
                    <a:pt x="939" y="136"/>
                  </a:moveTo>
                  <a:cubicBezTo>
                    <a:pt x="939" y="135"/>
                    <a:pt x="935" y="131"/>
                    <a:pt x="934" y="130"/>
                  </a:cubicBezTo>
                  <a:cubicBezTo>
                    <a:pt x="931" y="128"/>
                    <a:pt x="927" y="124"/>
                    <a:pt x="927" y="124"/>
                  </a:cubicBezTo>
                  <a:cubicBezTo>
                    <a:pt x="927" y="124"/>
                    <a:pt x="927" y="124"/>
                    <a:pt x="927" y="124"/>
                  </a:cubicBezTo>
                  <a:cubicBezTo>
                    <a:pt x="927" y="125"/>
                    <a:pt x="938" y="135"/>
                    <a:pt x="939" y="136"/>
                  </a:cubicBezTo>
                  <a:close/>
                  <a:moveTo>
                    <a:pt x="941" y="136"/>
                  </a:moveTo>
                  <a:cubicBezTo>
                    <a:pt x="940" y="135"/>
                    <a:pt x="935" y="131"/>
                    <a:pt x="935" y="130"/>
                  </a:cubicBezTo>
                  <a:cubicBezTo>
                    <a:pt x="932" y="128"/>
                    <a:pt x="928" y="125"/>
                    <a:pt x="928" y="124"/>
                  </a:cubicBezTo>
                  <a:cubicBezTo>
                    <a:pt x="928" y="124"/>
                    <a:pt x="928" y="124"/>
                    <a:pt x="928" y="124"/>
                  </a:cubicBezTo>
                  <a:cubicBezTo>
                    <a:pt x="929" y="125"/>
                    <a:pt x="940" y="135"/>
                    <a:pt x="941" y="136"/>
                  </a:cubicBezTo>
                  <a:close/>
                  <a:moveTo>
                    <a:pt x="939" y="134"/>
                  </a:moveTo>
                  <a:cubicBezTo>
                    <a:pt x="936" y="131"/>
                    <a:pt x="933" y="129"/>
                    <a:pt x="930" y="126"/>
                  </a:cubicBezTo>
                  <a:cubicBezTo>
                    <a:pt x="930" y="126"/>
                    <a:pt x="930" y="126"/>
                    <a:pt x="930" y="126"/>
                  </a:cubicBezTo>
                  <a:cubicBezTo>
                    <a:pt x="930" y="125"/>
                    <a:pt x="929" y="125"/>
                    <a:pt x="929" y="125"/>
                  </a:cubicBezTo>
                  <a:cubicBezTo>
                    <a:pt x="929" y="124"/>
                    <a:pt x="929" y="124"/>
                    <a:pt x="929" y="124"/>
                  </a:cubicBezTo>
                  <a:cubicBezTo>
                    <a:pt x="929" y="125"/>
                    <a:pt x="941" y="135"/>
                    <a:pt x="941" y="136"/>
                  </a:cubicBezTo>
                  <a:cubicBezTo>
                    <a:pt x="941" y="135"/>
                    <a:pt x="940" y="134"/>
                    <a:pt x="939" y="134"/>
                  </a:cubicBezTo>
                  <a:close/>
                  <a:moveTo>
                    <a:pt x="830" y="56"/>
                  </a:moveTo>
                  <a:cubicBezTo>
                    <a:pt x="826" y="54"/>
                    <a:pt x="822" y="52"/>
                    <a:pt x="822" y="52"/>
                  </a:cubicBezTo>
                  <a:cubicBezTo>
                    <a:pt x="823" y="53"/>
                    <a:pt x="836" y="60"/>
                    <a:pt x="837" y="60"/>
                  </a:cubicBezTo>
                  <a:cubicBezTo>
                    <a:pt x="836" y="60"/>
                    <a:pt x="831" y="57"/>
                    <a:pt x="830" y="56"/>
                  </a:cubicBezTo>
                  <a:close/>
                  <a:moveTo>
                    <a:pt x="914" y="130"/>
                  </a:moveTo>
                  <a:cubicBezTo>
                    <a:pt x="916" y="133"/>
                    <a:pt x="920" y="136"/>
                    <a:pt x="921" y="136"/>
                  </a:cubicBezTo>
                  <a:cubicBezTo>
                    <a:pt x="922" y="136"/>
                    <a:pt x="920" y="133"/>
                    <a:pt x="917" y="130"/>
                  </a:cubicBezTo>
                  <a:cubicBezTo>
                    <a:pt x="914" y="127"/>
                    <a:pt x="910" y="124"/>
                    <a:pt x="909" y="124"/>
                  </a:cubicBezTo>
                  <a:cubicBezTo>
                    <a:pt x="908" y="125"/>
                    <a:pt x="911" y="128"/>
                    <a:pt x="914" y="130"/>
                  </a:cubicBezTo>
                  <a:close/>
                  <a:moveTo>
                    <a:pt x="385" y="33"/>
                  </a:moveTo>
                  <a:cubicBezTo>
                    <a:pt x="381" y="34"/>
                    <a:pt x="371" y="40"/>
                    <a:pt x="372" y="40"/>
                  </a:cubicBezTo>
                  <a:cubicBezTo>
                    <a:pt x="373" y="41"/>
                    <a:pt x="376" y="39"/>
                    <a:pt x="380" y="37"/>
                  </a:cubicBezTo>
                  <a:cubicBezTo>
                    <a:pt x="383" y="36"/>
                    <a:pt x="386" y="34"/>
                    <a:pt x="385" y="33"/>
                  </a:cubicBezTo>
                  <a:cubicBezTo>
                    <a:pt x="385" y="33"/>
                    <a:pt x="385" y="33"/>
                    <a:pt x="385" y="33"/>
                  </a:cubicBezTo>
                  <a:close/>
                  <a:moveTo>
                    <a:pt x="908" y="118"/>
                  </a:moveTo>
                  <a:cubicBezTo>
                    <a:pt x="907" y="117"/>
                    <a:pt x="907" y="117"/>
                    <a:pt x="907" y="117"/>
                  </a:cubicBezTo>
                  <a:cubicBezTo>
                    <a:pt x="903" y="114"/>
                    <a:pt x="899" y="110"/>
                    <a:pt x="898" y="111"/>
                  </a:cubicBezTo>
                  <a:cubicBezTo>
                    <a:pt x="897" y="112"/>
                    <a:pt x="909" y="121"/>
                    <a:pt x="911" y="121"/>
                  </a:cubicBezTo>
                  <a:cubicBezTo>
                    <a:pt x="911" y="121"/>
                    <a:pt x="910" y="120"/>
                    <a:pt x="908" y="118"/>
                  </a:cubicBezTo>
                  <a:close/>
                  <a:moveTo>
                    <a:pt x="369" y="42"/>
                  </a:moveTo>
                  <a:cubicBezTo>
                    <a:pt x="365" y="43"/>
                    <a:pt x="356" y="49"/>
                    <a:pt x="357" y="50"/>
                  </a:cubicBezTo>
                  <a:cubicBezTo>
                    <a:pt x="357" y="50"/>
                    <a:pt x="361" y="49"/>
                    <a:pt x="365" y="47"/>
                  </a:cubicBezTo>
                  <a:cubicBezTo>
                    <a:pt x="368" y="45"/>
                    <a:pt x="371" y="43"/>
                    <a:pt x="370" y="42"/>
                  </a:cubicBezTo>
                  <a:cubicBezTo>
                    <a:pt x="369" y="42"/>
                    <a:pt x="369" y="42"/>
                    <a:pt x="369" y="42"/>
                  </a:cubicBezTo>
                  <a:close/>
                  <a:moveTo>
                    <a:pt x="907" y="106"/>
                  </a:moveTo>
                  <a:cubicBezTo>
                    <a:pt x="904" y="104"/>
                    <a:pt x="900" y="101"/>
                    <a:pt x="897" y="99"/>
                  </a:cubicBezTo>
                  <a:cubicBezTo>
                    <a:pt x="897" y="99"/>
                    <a:pt x="897" y="99"/>
                    <a:pt x="897" y="99"/>
                  </a:cubicBezTo>
                  <a:cubicBezTo>
                    <a:pt x="896" y="98"/>
                    <a:pt x="896" y="98"/>
                    <a:pt x="895" y="98"/>
                  </a:cubicBezTo>
                  <a:cubicBezTo>
                    <a:pt x="895" y="98"/>
                    <a:pt x="895" y="98"/>
                    <a:pt x="895" y="98"/>
                  </a:cubicBezTo>
                  <a:cubicBezTo>
                    <a:pt x="895" y="98"/>
                    <a:pt x="908" y="107"/>
                    <a:pt x="909" y="108"/>
                  </a:cubicBezTo>
                  <a:cubicBezTo>
                    <a:pt x="908" y="107"/>
                    <a:pt x="907" y="107"/>
                    <a:pt x="907" y="106"/>
                  </a:cubicBezTo>
                  <a:close/>
                  <a:moveTo>
                    <a:pt x="923" y="121"/>
                  </a:moveTo>
                  <a:cubicBezTo>
                    <a:pt x="923" y="121"/>
                    <a:pt x="919" y="117"/>
                    <a:pt x="918" y="117"/>
                  </a:cubicBezTo>
                  <a:cubicBezTo>
                    <a:pt x="915" y="114"/>
                    <a:pt x="911" y="111"/>
                    <a:pt x="910" y="111"/>
                  </a:cubicBezTo>
                  <a:cubicBezTo>
                    <a:pt x="910" y="111"/>
                    <a:pt x="910" y="111"/>
                    <a:pt x="910" y="111"/>
                  </a:cubicBezTo>
                  <a:cubicBezTo>
                    <a:pt x="911" y="112"/>
                    <a:pt x="922" y="121"/>
                    <a:pt x="923" y="121"/>
                  </a:cubicBezTo>
                  <a:close/>
                  <a:moveTo>
                    <a:pt x="925" y="121"/>
                  </a:moveTo>
                  <a:cubicBezTo>
                    <a:pt x="924" y="121"/>
                    <a:pt x="919" y="117"/>
                    <a:pt x="919" y="117"/>
                  </a:cubicBezTo>
                  <a:cubicBezTo>
                    <a:pt x="916" y="114"/>
                    <a:pt x="912" y="111"/>
                    <a:pt x="912" y="111"/>
                  </a:cubicBezTo>
                  <a:cubicBezTo>
                    <a:pt x="912" y="111"/>
                    <a:pt x="912" y="111"/>
                    <a:pt x="912" y="111"/>
                  </a:cubicBezTo>
                  <a:cubicBezTo>
                    <a:pt x="912" y="112"/>
                    <a:pt x="924" y="121"/>
                    <a:pt x="925" y="121"/>
                  </a:cubicBezTo>
                  <a:close/>
                  <a:moveTo>
                    <a:pt x="871" y="83"/>
                  </a:moveTo>
                  <a:cubicBezTo>
                    <a:pt x="871" y="82"/>
                    <a:pt x="865" y="79"/>
                    <a:pt x="865" y="79"/>
                  </a:cubicBezTo>
                  <a:cubicBezTo>
                    <a:pt x="862" y="76"/>
                    <a:pt x="857" y="74"/>
                    <a:pt x="856" y="73"/>
                  </a:cubicBezTo>
                  <a:cubicBezTo>
                    <a:pt x="856" y="73"/>
                    <a:pt x="856" y="73"/>
                    <a:pt x="856" y="73"/>
                  </a:cubicBezTo>
                  <a:cubicBezTo>
                    <a:pt x="857" y="74"/>
                    <a:pt x="869" y="82"/>
                    <a:pt x="871" y="83"/>
                  </a:cubicBezTo>
                  <a:close/>
                  <a:moveTo>
                    <a:pt x="854" y="70"/>
                  </a:moveTo>
                  <a:cubicBezTo>
                    <a:pt x="850" y="68"/>
                    <a:pt x="847" y="66"/>
                    <a:pt x="843" y="64"/>
                  </a:cubicBezTo>
                  <a:cubicBezTo>
                    <a:pt x="843" y="63"/>
                    <a:pt x="843" y="63"/>
                    <a:pt x="843" y="63"/>
                  </a:cubicBezTo>
                  <a:cubicBezTo>
                    <a:pt x="842" y="63"/>
                    <a:pt x="842" y="62"/>
                    <a:pt x="841" y="62"/>
                  </a:cubicBezTo>
                  <a:cubicBezTo>
                    <a:pt x="856" y="71"/>
                    <a:pt x="856" y="71"/>
                    <a:pt x="856" y="71"/>
                  </a:cubicBezTo>
                  <a:cubicBezTo>
                    <a:pt x="855" y="71"/>
                    <a:pt x="855" y="70"/>
                    <a:pt x="854" y="70"/>
                  </a:cubicBezTo>
                  <a:close/>
                  <a:moveTo>
                    <a:pt x="849" y="67"/>
                  </a:moveTo>
                  <a:cubicBezTo>
                    <a:pt x="846" y="65"/>
                    <a:pt x="841" y="62"/>
                    <a:pt x="841" y="62"/>
                  </a:cubicBezTo>
                  <a:cubicBezTo>
                    <a:pt x="842" y="63"/>
                    <a:pt x="854" y="71"/>
                    <a:pt x="855" y="71"/>
                  </a:cubicBezTo>
                  <a:cubicBezTo>
                    <a:pt x="855" y="71"/>
                    <a:pt x="849" y="67"/>
                    <a:pt x="849" y="67"/>
                  </a:cubicBezTo>
                  <a:close/>
                  <a:moveTo>
                    <a:pt x="872" y="81"/>
                  </a:moveTo>
                  <a:cubicBezTo>
                    <a:pt x="869" y="79"/>
                    <a:pt x="865" y="77"/>
                    <a:pt x="862" y="75"/>
                  </a:cubicBezTo>
                  <a:cubicBezTo>
                    <a:pt x="861" y="74"/>
                    <a:pt x="861" y="74"/>
                    <a:pt x="861" y="74"/>
                  </a:cubicBezTo>
                  <a:cubicBezTo>
                    <a:pt x="861" y="74"/>
                    <a:pt x="860" y="74"/>
                    <a:pt x="860" y="74"/>
                  </a:cubicBezTo>
                  <a:cubicBezTo>
                    <a:pt x="860" y="74"/>
                    <a:pt x="860" y="73"/>
                    <a:pt x="860" y="73"/>
                  </a:cubicBezTo>
                  <a:cubicBezTo>
                    <a:pt x="860" y="74"/>
                    <a:pt x="874" y="83"/>
                    <a:pt x="874" y="83"/>
                  </a:cubicBezTo>
                  <a:cubicBezTo>
                    <a:pt x="873" y="82"/>
                    <a:pt x="873" y="82"/>
                    <a:pt x="872" y="81"/>
                  </a:cubicBezTo>
                  <a:close/>
                  <a:moveTo>
                    <a:pt x="866" y="79"/>
                  </a:moveTo>
                  <a:cubicBezTo>
                    <a:pt x="863" y="76"/>
                    <a:pt x="859" y="74"/>
                    <a:pt x="858" y="73"/>
                  </a:cubicBezTo>
                  <a:cubicBezTo>
                    <a:pt x="858" y="73"/>
                    <a:pt x="858" y="73"/>
                    <a:pt x="858" y="73"/>
                  </a:cubicBezTo>
                  <a:cubicBezTo>
                    <a:pt x="859" y="74"/>
                    <a:pt x="871" y="82"/>
                    <a:pt x="872" y="83"/>
                  </a:cubicBezTo>
                  <a:cubicBezTo>
                    <a:pt x="872" y="82"/>
                    <a:pt x="867" y="79"/>
                    <a:pt x="866" y="79"/>
                  </a:cubicBezTo>
                  <a:close/>
                  <a:moveTo>
                    <a:pt x="253" y="83"/>
                  </a:moveTo>
                  <a:cubicBezTo>
                    <a:pt x="254" y="83"/>
                    <a:pt x="258" y="80"/>
                    <a:pt x="261" y="79"/>
                  </a:cubicBezTo>
                  <a:cubicBezTo>
                    <a:pt x="261" y="78"/>
                    <a:pt x="267" y="74"/>
                    <a:pt x="268" y="73"/>
                  </a:cubicBezTo>
                  <a:cubicBezTo>
                    <a:pt x="268" y="73"/>
                    <a:pt x="268" y="73"/>
                    <a:pt x="267" y="73"/>
                  </a:cubicBezTo>
                  <a:cubicBezTo>
                    <a:pt x="265" y="74"/>
                    <a:pt x="254" y="82"/>
                    <a:pt x="253" y="83"/>
                  </a:cubicBezTo>
                  <a:close/>
                  <a:moveTo>
                    <a:pt x="867" y="79"/>
                  </a:moveTo>
                  <a:cubicBezTo>
                    <a:pt x="864" y="76"/>
                    <a:pt x="859" y="73"/>
                    <a:pt x="859" y="73"/>
                  </a:cubicBezTo>
                  <a:cubicBezTo>
                    <a:pt x="860" y="74"/>
                    <a:pt x="872" y="82"/>
                    <a:pt x="873" y="83"/>
                  </a:cubicBezTo>
                  <a:cubicBezTo>
                    <a:pt x="873" y="82"/>
                    <a:pt x="867" y="79"/>
                    <a:pt x="867" y="79"/>
                  </a:cubicBezTo>
                  <a:close/>
                  <a:moveTo>
                    <a:pt x="835" y="59"/>
                  </a:moveTo>
                  <a:cubicBezTo>
                    <a:pt x="832" y="57"/>
                    <a:pt x="828" y="55"/>
                    <a:pt x="825" y="53"/>
                  </a:cubicBezTo>
                  <a:cubicBezTo>
                    <a:pt x="824" y="53"/>
                    <a:pt x="824" y="53"/>
                    <a:pt x="824" y="53"/>
                  </a:cubicBezTo>
                  <a:cubicBezTo>
                    <a:pt x="824" y="53"/>
                    <a:pt x="823" y="52"/>
                    <a:pt x="822" y="52"/>
                  </a:cubicBezTo>
                  <a:cubicBezTo>
                    <a:pt x="837" y="60"/>
                    <a:pt x="837" y="60"/>
                    <a:pt x="837" y="60"/>
                  </a:cubicBezTo>
                  <a:cubicBezTo>
                    <a:pt x="837" y="60"/>
                    <a:pt x="836" y="59"/>
                    <a:pt x="835" y="59"/>
                  </a:cubicBezTo>
                  <a:close/>
                  <a:moveTo>
                    <a:pt x="895" y="108"/>
                  </a:moveTo>
                  <a:cubicBezTo>
                    <a:pt x="895" y="107"/>
                    <a:pt x="891" y="104"/>
                    <a:pt x="890" y="103"/>
                  </a:cubicBezTo>
                  <a:cubicBezTo>
                    <a:pt x="887" y="100"/>
                    <a:pt x="883" y="97"/>
                    <a:pt x="882" y="98"/>
                  </a:cubicBezTo>
                  <a:cubicBezTo>
                    <a:pt x="881" y="99"/>
                    <a:pt x="893" y="108"/>
                    <a:pt x="895" y="108"/>
                  </a:cubicBezTo>
                  <a:close/>
                  <a:moveTo>
                    <a:pt x="283" y="62"/>
                  </a:moveTo>
                  <a:cubicBezTo>
                    <a:pt x="283" y="62"/>
                    <a:pt x="283" y="62"/>
                    <a:pt x="283" y="62"/>
                  </a:cubicBezTo>
                  <a:cubicBezTo>
                    <a:pt x="281" y="63"/>
                    <a:pt x="269" y="70"/>
                    <a:pt x="268" y="71"/>
                  </a:cubicBezTo>
                  <a:cubicBezTo>
                    <a:pt x="268" y="71"/>
                    <a:pt x="269" y="71"/>
                    <a:pt x="275" y="67"/>
                  </a:cubicBezTo>
                  <a:cubicBezTo>
                    <a:pt x="282" y="63"/>
                    <a:pt x="283" y="63"/>
                    <a:pt x="283" y="62"/>
                  </a:cubicBezTo>
                  <a:close/>
                  <a:moveTo>
                    <a:pt x="277" y="67"/>
                  </a:moveTo>
                  <a:cubicBezTo>
                    <a:pt x="278" y="66"/>
                    <a:pt x="284" y="63"/>
                    <a:pt x="284" y="62"/>
                  </a:cubicBezTo>
                  <a:cubicBezTo>
                    <a:pt x="284" y="62"/>
                    <a:pt x="284" y="62"/>
                    <a:pt x="284" y="62"/>
                  </a:cubicBezTo>
                  <a:cubicBezTo>
                    <a:pt x="282" y="63"/>
                    <a:pt x="270" y="70"/>
                    <a:pt x="269" y="71"/>
                  </a:cubicBezTo>
                  <a:cubicBezTo>
                    <a:pt x="270" y="71"/>
                    <a:pt x="270" y="71"/>
                    <a:pt x="277" y="67"/>
                  </a:cubicBezTo>
                  <a:close/>
                  <a:moveTo>
                    <a:pt x="848" y="67"/>
                  </a:moveTo>
                  <a:cubicBezTo>
                    <a:pt x="844" y="65"/>
                    <a:pt x="840" y="63"/>
                    <a:pt x="840" y="62"/>
                  </a:cubicBezTo>
                  <a:cubicBezTo>
                    <a:pt x="840" y="62"/>
                    <a:pt x="840" y="62"/>
                    <a:pt x="840" y="62"/>
                  </a:cubicBezTo>
                  <a:cubicBezTo>
                    <a:pt x="841" y="63"/>
                    <a:pt x="853" y="71"/>
                    <a:pt x="854" y="71"/>
                  </a:cubicBezTo>
                  <a:cubicBezTo>
                    <a:pt x="854" y="71"/>
                    <a:pt x="848" y="67"/>
                    <a:pt x="848" y="67"/>
                  </a:cubicBezTo>
                  <a:close/>
                  <a:moveTo>
                    <a:pt x="239" y="91"/>
                  </a:moveTo>
                  <a:cubicBezTo>
                    <a:pt x="241" y="89"/>
                    <a:pt x="246" y="86"/>
                    <a:pt x="246" y="85"/>
                  </a:cubicBezTo>
                  <a:cubicBezTo>
                    <a:pt x="246" y="85"/>
                    <a:pt x="246" y="85"/>
                    <a:pt x="246" y="85"/>
                  </a:cubicBezTo>
                  <a:cubicBezTo>
                    <a:pt x="244" y="86"/>
                    <a:pt x="234" y="94"/>
                    <a:pt x="233" y="95"/>
                  </a:cubicBezTo>
                  <a:cubicBezTo>
                    <a:pt x="233" y="95"/>
                    <a:pt x="233" y="95"/>
                    <a:pt x="239" y="91"/>
                  </a:cubicBezTo>
                  <a:close/>
                  <a:moveTo>
                    <a:pt x="257" y="79"/>
                  </a:moveTo>
                  <a:cubicBezTo>
                    <a:pt x="260" y="76"/>
                    <a:pt x="264" y="74"/>
                    <a:pt x="264" y="73"/>
                  </a:cubicBezTo>
                  <a:cubicBezTo>
                    <a:pt x="264" y="73"/>
                    <a:pt x="264" y="73"/>
                    <a:pt x="264" y="73"/>
                  </a:cubicBezTo>
                  <a:cubicBezTo>
                    <a:pt x="262" y="74"/>
                    <a:pt x="251" y="82"/>
                    <a:pt x="250" y="83"/>
                  </a:cubicBezTo>
                  <a:cubicBezTo>
                    <a:pt x="250" y="83"/>
                    <a:pt x="250" y="83"/>
                    <a:pt x="257" y="79"/>
                  </a:cubicBezTo>
                  <a:close/>
                  <a:moveTo>
                    <a:pt x="264" y="73"/>
                  </a:moveTo>
                  <a:cubicBezTo>
                    <a:pt x="264" y="73"/>
                    <a:pt x="264" y="73"/>
                    <a:pt x="264" y="73"/>
                  </a:cubicBezTo>
                  <a:cubicBezTo>
                    <a:pt x="262" y="75"/>
                    <a:pt x="251" y="82"/>
                    <a:pt x="249" y="83"/>
                  </a:cubicBezTo>
                  <a:cubicBezTo>
                    <a:pt x="250" y="83"/>
                    <a:pt x="250" y="82"/>
                    <a:pt x="256" y="79"/>
                  </a:cubicBezTo>
                  <a:cubicBezTo>
                    <a:pt x="259" y="77"/>
                    <a:pt x="261" y="75"/>
                    <a:pt x="264" y="73"/>
                  </a:cubicBezTo>
                  <a:close/>
                  <a:moveTo>
                    <a:pt x="888" y="95"/>
                  </a:moveTo>
                  <a:cubicBezTo>
                    <a:pt x="888" y="95"/>
                    <a:pt x="888" y="95"/>
                    <a:pt x="888" y="95"/>
                  </a:cubicBezTo>
                  <a:cubicBezTo>
                    <a:pt x="887" y="94"/>
                    <a:pt x="883" y="91"/>
                    <a:pt x="883" y="91"/>
                  </a:cubicBezTo>
                  <a:cubicBezTo>
                    <a:pt x="879" y="88"/>
                    <a:pt x="874" y="85"/>
                    <a:pt x="874" y="85"/>
                  </a:cubicBezTo>
                  <a:cubicBezTo>
                    <a:pt x="875" y="86"/>
                    <a:pt x="887" y="95"/>
                    <a:pt x="888" y="95"/>
                  </a:cubicBezTo>
                  <a:close/>
                  <a:moveTo>
                    <a:pt x="234" y="95"/>
                  </a:moveTo>
                  <a:cubicBezTo>
                    <a:pt x="235" y="95"/>
                    <a:pt x="238" y="93"/>
                    <a:pt x="241" y="91"/>
                  </a:cubicBezTo>
                  <a:cubicBezTo>
                    <a:pt x="242" y="90"/>
                    <a:pt x="247" y="86"/>
                    <a:pt x="248" y="85"/>
                  </a:cubicBezTo>
                  <a:cubicBezTo>
                    <a:pt x="248" y="85"/>
                    <a:pt x="248" y="85"/>
                    <a:pt x="248" y="85"/>
                  </a:cubicBezTo>
                  <a:cubicBezTo>
                    <a:pt x="246" y="86"/>
                    <a:pt x="235" y="94"/>
                    <a:pt x="234" y="95"/>
                  </a:cubicBezTo>
                  <a:close/>
                  <a:moveTo>
                    <a:pt x="246" y="85"/>
                  </a:moveTo>
                  <a:cubicBezTo>
                    <a:pt x="246" y="85"/>
                    <a:pt x="246" y="85"/>
                    <a:pt x="246" y="85"/>
                  </a:cubicBezTo>
                  <a:cubicBezTo>
                    <a:pt x="244" y="86"/>
                    <a:pt x="233" y="94"/>
                    <a:pt x="232" y="95"/>
                  </a:cubicBezTo>
                  <a:cubicBezTo>
                    <a:pt x="232" y="95"/>
                    <a:pt x="232" y="95"/>
                    <a:pt x="238" y="91"/>
                  </a:cubicBezTo>
                  <a:cubicBezTo>
                    <a:pt x="243" y="87"/>
                    <a:pt x="245" y="86"/>
                    <a:pt x="246" y="85"/>
                  </a:cubicBezTo>
                  <a:close/>
                  <a:moveTo>
                    <a:pt x="251" y="83"/>
                  </a:moveTo>
                  <a:cubicBezTo>
                    <a:pt x="252" y="83"/>
                    <a:pt x="256" y="80"/>
                    <a:pt x="258" y="79"/>
                  </a:cubicBezTo>
                  <a:cubicBezTo>
                    <a:pt x="260" y="78"/>
                    <a:pt x="265" y="74"/>
                    <a:pt x="266" y="73"/>
                  </a:cubicBezTo>
                  <a:cubicBezTo>
                    <a:pt x="266" y="73"/>
                    <a:pt x="266" y="73"/>
                    <a:pt x="266" y="73"/>
                  </a:cubicBezTo>
                  <a:cubicBezTo>
                    <a:pt x="263" y="74"/>
                    <a:pt x="252" y="82"/>
                    <a:pt x="251" y="83"/>
                  </a:cubicBezTo>
                  <a:close/>
                  <a:moveTo>
                    <a:pt x="884" y="91"/>
                  </a:moveTo>
                  <a:cubicBezTo>
                    <a:pt x="881" y="88"/>
                    <a:pt x="877" y="85"/>
                    <a:pt x="876" y="85"/>
                  </a:cubicBezTo>
                  <a:cubicBezTo>
                    <a:pt x="876" y="85"/>
                    <a:pt x="876" y="85"/>
                    <a:pt x="876" y="85"/>
                  </a:cubicBezTo>
                  <a:cubicBezTo>
                    <a:pt x="877" y="86"/>
                    <a:pt x="889" y="95"/>
                    <a:pt x="890" y="95"/>
                  </a:cubicBezTo>
                  <a:cubicBezTo>
                    <a:pt x="890" y="94"/>
                    <a:pt x="884" y="91"/>
                    <a:pt x="884" y="91"/>
                  </a:cubicBezTo>
                  <a:close/>
                  <a:moveTo>
                    <a:pt x="891" y="95"/>
                  </a:moveTo>
                  <a:cubicBezTo>
                    <a:pt x="891" y="94"/>
                    <a:pt x="885" y="91"/>
                    <a:pt x="885" y="91"/>
                  </a:cubicBezTo>
                  <a:cubicBezTo>
                    <a:pt x="881" y="88"/>
                    <a:pt x="878" y="85"/>
                    <a:pt x="877" y="85"/>
                  </a:cubicBezTo>
                  <a:cubicBezTo>
                    <a:pt x="877" y="85"/>
                    <a:pt x="877" y="85"/>
                    <a:pt x="877" y="85"/>
                  </a:cubicBezTo>
                  <a:cubicBezTo>
                    <a:pt x="878" y="86"/>
                    <a:pt x="890" y="95"/>
                    <a:pt x="891" y="95"/>
                  </a:cubicBezTo>
                  <a:close/>
                  <a:moveTo>
                    <a:pt x="890" y="94"/>
                  </a:moveTo>
                  <a:cubicBezTo>
                    <a:pt x="886" y="91"/>
                    <a:pt x="883" y="89"/>
                    <a:pt x="880" y="87"/>
                  </a:cubicBezTo>
                  <a:cubicBezTo>
                    <a:pt x="879" y="86"/>
                    <a:pt x="879" y="86"/>
                    <a:pt x="879" y="86"/>
                  </a:cubicBezTo>
                  <a:cubicBezTo>
                    <a:pt x="879" y="86"/>
                    <a:pt x="878" y="86"/>
                    <a:pt x="878" y="85"/>
                  </a:cubicBezTo>
                  <a:cubicBezTo>
                    <a:pt x="878" y="85"/>
                    <a:pt x="878" y="85"/>
                    <a:pt x="878" y="85"/>
                  </a:cubicBezTo>
                  <a:cubicBezTo>
                    <a:pt x="878" y="85"/>
                    <a:pt x="891" y="95"/>
                    <a:pt x="891" y="95"/>
                  </a:cubicBezTo>
                  <a:cubicBezTo>
                    <a:pt x="891" y="94"/>
                    <a:pt x="890" y="94"/>
                    <a:pt x="890" y="94"/>
                  </a:cubicBezTo>
                  <a:close/>
                  <a:moveTo>
                    <a:pt x="908" y="108"/>
                  </a:moveTo>
                  <a:cubicBezTo>
                    <a:pt x="908" y="107"/>
                    <a:pt x="903" y="103"/>
                    <a:pt x="902" y="103"/>
                  </a:cubicBezTo>
                  <a:cubicBezTo>
                    <a:pt x="899" y="100"/>
                    <a:pt x="895" y="98"/>
                    <a:pt x="895" y="98"/>
                  </a:cubicBezTo>
                  <a:cubicBezTo>
                    <a:pt x="895" y="98"/>
                    <a:pt x="895" y="98"/>
                    <a:pt x="895" y="98"/>
                  </a:cubicBezTo>
                  <a:cubicBezTo>
                    <a:pt x="895" y="98"/>
                    <a:pt x="907" y="108"/>
                    <a:pt x="908" y="108"/>
                  </a:cubicBezTo>
                  <a:close/>
                  <a:moveTo>
                    <a:pt x="907" y="108"/>
                  </a:moveTo>
                  <a:cubicBezTo>
                    <a:pt x="907" y="107"/>
                    <a:pt x="902" y="104"/>
                    <a:pt x="901" y="103"/>
                  </a:cubicBezTo>
                  <a:cubicBezTo>
                    <a:pt x="898" y="101"/>
                    <a:pt x="894" y="98"/>
                    <a:pt x="893" y="98"/>
                  </a:cubicBezTo>
                  <a:cubicBezTo>
                    <a:pt x="893" y="98"/>
                    <a:pt x="893" y="98"/>
                    <a:pt x="893" y="98"/>
                  </a:cubicBezTo>
                  <a:cubicBezTo>
                    <a:pt x="894" y="98"/>
                    <a:pt x="906" y="108"/>
                    <a:pt x="907" y="108"/>
                  </a:cubicBezTo>
                  <a:close/>
                  <a:moveTo>
                    <a:pt x="273" y="73"/>
                  </a:moveTo>
                  <a:cubicBezTo>
                    <a:pt x="270" y="74"/>
                    <a:pt x="259" y="82"/>
                    <a:pt x="259" y="83"/>
                  </a:cubicBezTo>
                  <a:cubicBezTo>
                    <a:pt x="260" y="83"/>
                    <a:pt x="264" y="80"/>
                    <a:pt x="267" y="79"/>
                  </a:cubicBezTo>
                  <a:cubicBezTo>
                    <a:pt x="267" y="78"/>
                    <a:pt x="273" y="74"/>
                    <a:pt x="273" y="74"/>
                  </a:cubicBezTo>
                  <a:cubicBezTo>
                    <a:pt x="273" y="74"/>
                    <a:pt x="273" y="73"/>
                    <a:pt x="273" y="73"/>
                  </a:cubicBezTo>
                  <a:cubicBezTo>
                    <a:pt x="273" y="73"/>
                    <a:pt x="273" y="73"/>
                    <a:pt x="273" y="73"/>
                  </a:cubicBezTo>
                  <a:close/>
                  <a:moveTo>
                    <a:pt x="342" y="60"/>
                  </a:moveTo>
                  <a:cubicBezTo>
                    <a:pt x="342" y="61"/>
                    <a:pt x="346" y="59"/>
                    <a:pt x="350" y="56"/>
                  </a:cubicBezTo>
                  <a:cubicBezTo>
                    <a:pt x="353" y="54"/>
                    <a:pt x="355" y="52"/>
                    <a:pt x="354" y="52"/>
                  </a:cubicBezTo>
                  <a:cubicBezTo>
                    <a:pt x="354" y="52"/>
                    <a:pt x="354" y="52"/>
                    <a:pt x="354" y="52"/>
                  </a:cubicBezTo>
                  <a:cubicBezTo>
                    <a:pt x="349" y="53"/>
                    <a:pt x="340" y="59"/>
                    <a:pt x="342" y="60"/>
                  </a:cubicBezTo>
                  <a:close/>
                  <a:moveTo>
                    <a:pt x="847" y="91"/>
                  </a:moveTo>
                  <a:cubicBezTo>
                    <a:pt x="844" y="88"/>
                    <a:pt x="840" y="85"/>
                    <a:pt x="838" y="85"/>
                  </a:cubicBezTo>
                  <a:cubicBezTo>
                    <a:pt x="836" y="86"/>
                    <a:pt x="846" y="94"/>
                    <a:pt x="850" y="95"/>
                  </a:cubicBezTo>
                  <a:cubicBezTo>
                    <a:pt x="850" y="95"/>
                    <a:pt x="851" y="95"/>
                    <a:pt x="851" y="94"/>
                  </a:cubicBezTo>
                  <a:cubicBezTo>
                    <a:pt x="850" y="93"/>
                    <a:pt x="849" y="92"/>
                    <a:pt x="847" y="91"/>
                  </a:cubicBezTo>
                  <a:close/>
                  <a:moveTo>
                    <a:pt x="848" y="107"/>
                  </a:moveTo>
                  <a:cubicBezTo>
                    <a:pt x="850" y="108"/>
                    <a:pt x="851" y="108"/>
                    <a:pt x="850" y="107"/>
                  </a:cubicBezTo>
                  <a:cubicBezTo>
                    <a:pt x="850" y="106"/>
                    <a:pt x="849" y="105"/>
                    <a:pt x="847" y="103"/>
                  </a:cubicBezTo>
                  <a:cubicBezTo>
                    <a:pt x="845" y="101"/>
                    <a:pt x="840" y="97"/>
                    <a:pt x="838" y="98"/>
                  </a:cubicBezTo>
                  <a:cubicBezTo>
                    <a:pt x="836" y="98"/>
                    <a:pt x="843" y="106"/>
                    <a:pt x="848" y="107"/>
                  </a:cubicBezTo>
                  <a:close/>
                  <a:moveTo>
                    <a:pt x="855" y="103"/>
                  </a:moveTo>
                  <a:cubicBezTo>
                    <a:pt x="852" y="100"/>
                    <a:pt x="848" y="97"/>
                    <a:pt x="846" y="98"/>
                  </a:cubicBezTo>
                  <a:cubicBezTo>
                    <a:pt x="844" y="99"/>
                    <a:pt x="853" y="106"/>
                    <a:pt x="857" y="108"/>
                  </a:cubicBezTo>
                  <a:cubicBezTo>
                    <a:pt x="858" y="108"/>
                    <a:pt x="859" y="108"/>
                    <a:pt x="858" y="107"/>
                  </a:cubicBezTo>
                  <a:cubicBezTo>
                    <a:pt x="858" y="106"/>
                    <a:pt x="857" y="105"/>
                    <a:pt x="855" y="103"/>
                  </a:cubicBezTo>
                  <a:close/>
                  <a:moveTo>
                    <a:pt x="350" y="50"/>
                  </a:moveTo>
                  <a:cubicBezTo>
                    <a:pt x="351" y="50"/>
                    <a:pt x="354" y="49"/>
                    <a:pt x="358" y="47"/>
                  </a:cubicBezTo>
                  <a:cubicBezTo>
                    <a:pt x="361" y="45"/>
                    <a:pt x="364" y="43"/>
                    <a:pt x="363" y="42"/>
                  </a:cubicBezTo>
                  <a:cubicBezTo>
                    <a:pt x="363" y="42"/>
                    <a:pt x="363" y="42"/>
                    <a:pt x="363" y="42"/>
                  </a:cubicBezTo>
                  <a:cubicBezTo>
                    <a:pt x="359" y="43"/>
                    <a:pt x="349" y="49"/>
                    <a:pt x="350" y="50"/>
                  </a:cubicBezTo>
                  <a:close/>
                  <a:moveTo>
                    <a:pt x="366" y="40"/>
                  </a:moveTo>
                  <a:cubicBezTo>
                    <a:pt x="367" y="41"/>
                    <a:pt x="370" y="39"/>
                    <a:pt x="374" y="37"/>
                  </a:cubicBezTo>
                  <a:cubicBezTo>
                    <a:pt x="377" y="36"/>
                    <a:pt x="380" y="34"/>
                    <a:pt x="380" y="33"/>
                  </a:cubicBezTo>
                  <a:cubicBezTo>
                    <a:pt x="379" y="33"/>
                    <a:pt x="379" y="33"/>
                    <a:pt x="379" y="33"/>
                  </a:cubicBezTo>
                  <a:cubicBezTo>
                    <a:pt x="375" y="34"/>
                    <a:pt x="366" y="40"/>
                    <a:pt x="366" y="40"/>
                  </a:cubicBezTo>
                  <a:close/>
                  <a:moveTo>
                    <a:pt x="391" y="25"/>
                  </a:moveTo>
                  <a:cubicBezTo>
                    <a:pt x="388" y="26"/>
                    <a:pt x="377" y="31"/>
                    <a:pt x="377" y="32"/>
                  </a:cubicBezTo>
                  <a:cubicBezTo>
                    <a:pt x="378" y="32"/>
                    <a:pt x="383" y="30"/>
                    <a:pt x="385" y="29"/>
                  </a:cubicBezTo>
                  <a:cubicBezTo>
                    <a:pt x="386" y="28"/>
                    <a:pt x="391" y="26"/>
                    <a:pt x="391" y="25"/>
                  </a:cubicBezTo>
                  <a:cubicBezTo>
                    <a:pt x="391" y="25"/>
                    <a:pt x="391" y="25"/>
                    <a:pt x="391" y="25"/>
                  </a:cubicBezTo>
                  <a:close/>
                  <a:moveTo>
                    <a:pt x="842" y="95"/>
                  </a:moveTo>
                  <a:cubicBezTo>
                    <a:pt x="843" y="95"/>
                    <a:pt x="844" y="95"/>
                    <a:pt x="844" y="94"/>
                  </a:cubicBezTo>
                  <a:cubicBezTo>
                    <a:pt x="843" y="93"/>
                    <a:pt x="842" y="92"/>
                    <a:pt x="840" y="91"/>
                  </a:cubicBezTo>
                  <a:cubicBezTo>
                    <a:pt x="837" y="88"/>
                    <a:pt x="833" y="85"/>
                    <a:pt x="831" y="85"/>
                  </a:cubicBezTo>
                  <a:cubicBezTo>
                    <a:pt x="829" y="86"/>
                    <a:pt x="838" y="93"/>
                    <a:pt x="842" y="95"/>
                  </a:cubicBezTo>
                  <a:close/>
                  <a:moveTo>
                    <a:pt x="908" y="136"/>
                  </a:moveTo>
                  <a:cubicBezTo>
                    <a:pt x="909" y="136"/>
                    <a:pt x="909" y="135"/>
                    <a:pt x="908" y="133"/>
                  </a:cubicBezTo>
                  <a:cubicBezTo>
                    <a:pt x="908" y="133"/>
                    <a:pt x="907" y="132"/>
                    <a:pt x="906" y="130"/>
                  </a:cubicBezTo>
                  <a:cubicBezTo>
                    <a:pt x="903" y="128"/>
                    <a:pt x="898" y="124"/>
                    <a:pt x="897" y="124"/>
                  </a:cubicBezTo>
                  <a:cubicBezTo>
                    <a:pt x="895" y="126"/>
                    <a:pt x="906" y="135"/>
                    <a:pt x="908" y="136"/>
                  </a:cubicBezTo>
                  <a:close/>
                  <a:moveTo>
                    <a:pt x="901" y="135"/>
                  </a:moveTo>
                  <a:cubicBezTo>
                    <a:pt x="902" y="136"/>
                    <a:pt x="902" y="135"/>
                    <a:pt x="902" y="134"/>
                  </a:cubicBezTo>
                  <a:cubicBezTo>
                    <a:pt x="902" y="133"/>
                    <a:pt x="901" y="132"/>
                    <a:pt x="899" y="130"/>
                  </a:cubicBezTo>
                  <a:cubicBezTo>
                    <a:pt x="896" y="128"/>
                    <a:pt x="892" y="124"/>
                    <a:pt x="890" y="124"/>
                  </a:cubicBezTo>
                  <a:cubicBezTo>
                    <a:pt x="888" y="125"/>
                    <a:pt x="898" y="134"/>
                    <a:pt x="901" y="135"/>
                  </a:cubicBezTo>
                  <a:close/>
                  <a:moveTo>
                    <a:pt x="887" y="121"/>
                  </a:moveTo>
                  <a:cubicBezTo>
                    <a:pt x="888" y="122"/>
                    <a:pt x="888" y="121"/>
                    <a:pt x="887" y="120"/>
                  </a:cubicBezTo>
                  <a:cubicBezTo>
                    <a:pt x="887" y="119"/>
                    <a:pt x="886" y="118"/>
                    <a:pt x="884" y="117"/>
                  </a:cubicBezTo>
                  <a:cubicBezTo>
                    <a:pt x="882" y="114"/>
                    <a:pt x="877" y="110"/>
                    <a:pt x="875" y="111"/>
                  </a:cubicBezTo>
                  <a:cubicBezTo>
                    <a:pt x="873" y="112"/>
                    <a:pt x="883" y="120"/>
                    <a:pt x="887" y="121"/>
                  </a:cubicBezTo>
                  <a:close/>
                  <a:moveTo>
                    <a:pt x="891" y="117"/>
                  </a:moveTo>
                  <a:cubicBezTo>
                    <a:pt x="888" y="114"/>
                    <a:pt x="883" y="110"/>
                    <a:pt x="882" y="111"/>
                  </a:cubicBezTo>
                  <a:cubicBezTo>
                    <a:pt x="880" y="112"/>
                    <a:pt x="891" y="121"/>
                    <a:pt x="894" y="121"/>
                  </a:cubicBezTo>
                  <a:cubicBezTo>
                    <a:pt x="895" y="122"/>
                    <a:pt x="895" y="121"/>
                    <a:pt x="894" y="120"/>
                  </a:cubicBezTo>
                  <a:cubicBezTo>
                    <a:pt x="894" y="119"/>
                    <a:pt x="893" y="118"/>
                    <a:pt x="891" y="117"/>
                  </a:cubicBezTo>
                  <a:close/>
                  <a:moveTo>
                    <a:pt x="875" y="103"/>
                  </a:moveTo>
                  <a:cubicBezTo>
                    <a:pt x="872" y="100"/>
                    <a:pt x="868" y="97"/>
                    <a:pt x="866" y="98"/>
                  </a:cubicBezTo>
                  <a:cubicBezTo>
                    <a:pt x="865" y="99"/>
                    <a:pt x="876" y="107"/>
                    <a:pt x="879" y="108"/>
                  </a:cubicBezTo>
                  <a:cubicBezTo>
                    <a:pt x="879" y="108"/>
                    <a:pt x="880" y="108"/>
                    <a:pt x="879" y="107"/>
                  </a:cubicBezTo>
                  <a:cubicBezTo>
                    <a:pt x="878" y="106"/>
                    <a:pt x="877" y="105"/>
                    <a:pt x="875" y="103"/>
                  </a:cubicBezTo>
                  <a:close/>
                  <a:moveTo>
                    <a:pt x="872" y="108"/>
                  </a:moveTo>
                  <a:cubicBezTo>
                    <a:pt x="872" y="108"/>
                    <a:pt x="873" y="108"/>
                    <a:pt x="873" y="107"/>
                  </a:cubicBezTo>
                  <a:cubicBezTo>
                    <a:pt x="872" y="106"/>
                    <a:pt x="871" y="105"/>
                    <a:pt x="869" y="103"/>
                  </a:cubicBezTo>
                  <a:cubicBezTo>
                    <a:pt x="866" y="100"/>
                    <a:pt x="862" y="97"/>
                    <a:pt x="860" y="98"/>
                  </a:cubicBezTo>
                  <a:cubicBezTo>
                    <a:pt x="858" y="99"/>
                    <a:pt x="869" y="107"/>
                    <a:pt x="872" y="108"/>
                  </a:cubicBezTo>
                  <a:close/>
                  <a:moveTo>
                    <a:pt x="862" y="121"/>
                  </a:moveTo>
                  <a:cubicBezTo>
                    <a:pt x="864" y="122"/>
                    <a:pt x="865" y="121"/>
                    <a:pt x="864" y="120"/>
                  </a:cubicBezTo>
                  <a:cubicBezTo>
                    <a:pt x="864" y="119"/>
                    <a:pt x="863" y="118"/>
                    <a:pt x="861" y="117"/>
                  </a:cubicBezTo>
                  <a:cubicBezTo>
                    <a:pt x="859" y="114"/>
                    <a:pt x="854" y="110"/>
                    <a:pt x="852" y="111"/>
                  </a:cubicBezTo>
                  <a:cubicBezTo>
                    <a:pt x="850" y="112"/>
                    <a:pt x="857" y="119"/>
                    <a:pt x="862" y="121"/>
                  </a:cubicBezTo>
                  <a:close/>
                  <a:moveTo>
                    <a:pt x="286" y="73"/>
                  </a:moveTo>
                  <a:cubicBezTo>
                    <a:pt x="286" y="73"/>
                    <a:pt x="286" y="73"/>
                    <a:pt x="285" y="73"/>
                  </a:cubicBezTo>
                  <a:cubicBezTo>
                    <a:pt x="281" y="75"/>
                    <a:pt x="271" y="82"/>
                    <a:pt x="272" y="83"/>
                  </a:cubicBezTo>
                  <a:cubicBezTo>
                    <a:pt x="273" y="83"/>
                    <a:pt x="276" y="81"/>
                    <a:pt x="280" y="79"/>
                  </a:cubicBezTo>
                  <a:cubicBezTo>
                    <a:pt x="284" y="76"/>
                    <a:pt x="286" y="74"/>
                    <a:pt x="286" y="73"/>
                  </a:cubicBezTo>
                  <a:close/>
                  <a:moveTo>
                    <a:pt x="270" y="73"/>
                  </a:moveTo>
                  <a:cubicBezTo>
                    <a:pt x="267" y="74"/>
                    <a:pt x="256" y="82"/>
                    <a:pt x="256" y="83"/>
                  </a:cubicBezTo>
                  <a:cubicBezTo>
                    <a:pt x="257" y="83"/>
                    <a:pt x="263" y="79"/>
                    <a:pt x="263" y="79"/>
                  </a:cubicBezTo>
                  <a:cubicBezTo>
                    <a:pt x="264" y="78"/>
                    <a:pt x="270" y="74"/>
                    <a:pt x="270" y="74"/>
                  </a:cubicBezTo>
                  <a:cubicBezTo>
                    <a:pt x="270" y="74"/>
                    <a:pt x="270" y="73"/>
                    <a:pt x="270" y="73"/>
                  </a:cubicBezTo>
                  <a:cubicBezTo>
                    <a:pt x="270" y="73"/>
                    <a:pt x="270" y="73"/>
                    <a:pt x="270" y="73"/>
                  </a:cubicBezTo>
                  <a:close/>
                  <a:moveTo>
                    <a:pt x="281" y="73"/>
                  </a:moveTo>
                  <a:cubicBezTo>
                    <a:pt x="277" y="75"/>
                    <a:pt x="266" y="82"/>
                    <a:pt x="267" y="83"/>
                  </a:cubicBezTo>
                  <a:cubicBezTo>
                    <a:pt x="268" y="83"/>
                    <a:pt x="271" y="81"/>
                    <a:pt x="275" y="79"/>
                  </a:cubicBezTo>
                  <a:cubicBezTo>
                    <a:pt x="276" y="78"/>
                    <a:pt x="281" y="75"/>
                    <a:pt x="281" y="74"/>
                  </a:cubicBezTo>
                  <a:cubicBezTo>
                    <a:pt x="281" y="73"/>
                    <a:pt x="281" y="73"/>
                    <a:pt x="281" y="73"/>
                  </a:cubicBezTo>
                  <a:close/>
                  <a:moveTo>
                    <a:pt x="246" y="95"/>
                  </a:moveTo>
                  <a:cubicBezTo>
                    <a:pt x="247" y="95"/>
                    <a:pt x="250" y="93"/>
                    <a:pt x="254" y="91"/>
                  </a:cubicBezTo>
                  <a:cubicBezTo>
                    <a:pt x="256" y="89"/>
                    <a:pt x="260" y="86"/>
                    <a:pt x="260" y="85"/>
                  </a:cubicBezTo>
                  <a:cubicBezTo>
                    <a:pt x="260" y="85"/>
                    <a:pt x="260" y="85"/>
                    <a:pt x="259" y="85"/>
                  </a:cubicBezTo>
                  <a:cubicBezTo>
                    <a:pt x="256" y="86"/>
                    <a:pt x="245" y="94"/>
                    <a:pt x="246" y="95"/>
                  </a:cubicBezTo>
                  <a:close/>
                  <a:moveTo>
                    <a:pt x="922" y="130"/>
                  </a:moveTo>
                  <a:cubicBezTo>
                    <a:pt x="919" y="127"/>
                    <a:pt x="915" y="124"/>
                    <a:pt x="914" y="124"/>
                  </a:cubicBezTo>
                  <a:cubicBezTo>
                    <a:pt x="913" y="125"/>
                    <a:pt x="916" y="128"/>
                    <a:pt x="919" y="130"/>
                  </a:cubicBezTo>
                  <a:cubicBezTo>
                    <a:pt x="922" y="133"/>
                    <a:pt x="925" y="136"/>
                    <a:pt x="926" y="136"/>
                  </a:cubicBezTo>
                  <a:cubicBezTo>
                    <a:pt x="927" y="136"/>
                    <a:pt x="925" y="133"/>
                    <a:pt x="922" y="130"/>
                  </a:cubicBezTo>
                  <a:close/>
                  <a:moveTo>
                    <a:pt x="401" y="25"/>
                  </a:moveTo>
                  <a:cubicBezTo>
                    <a:pt x="397" y="26"/>
                    <a:pt x="387" y="31"/>
                    <a:pt x="388" y="32"/>
                  </a:cubicBezTo>
                  <a:cubicBezTo>
                    <a:pt x="388" y="32"/>
                    <a:pt x="392" y="31"/>
                    <a:pt x="396" y="29"/>
                  </a:cubicBezTo>
                  <a:cubicBezTo>
                    <a:pt x="397" y="28"/>
                    <a:pt x="401" y="26"/>
                    <a:pt x="401" y="25"/>
                  </a:cubicBezTo>
                  <a:cubicBezTo>
                    <a:pt x="401" y="25"/>
                    <a:pt x="401" y="25"/>
                    <a:pt x="401" y="25"/>
                  </a:cubicBezTo>
                  <a:close/>
                  <a:moveTo>
                    <a:pt x="263" y="83"/>
                  </a:moveTo>
                  <a:cubicBezTo>
                    <a:pt x="264" y="83"/>
                    <a:pt x="268" y="80"/>
                    <a:pt x="271" y="79"/>
                  </a:cubicBezTo>
                  <a:cubicBezTo>
                    <a:pt x="273" y="77"/>
                    <a:pt x="277" y="74"/>
                    <a:pt x="277" y="73"/>
                  </a:cubicBezTo>
                  <a:cubicBezTo>
                    <a:pt x="277" y="73"/>
                    <a:pt x="277" y="73"/>
                    <a:pt x="277" y="73"/>
                  </a:cubicBezTo>
                  <a:cubicBezTo>
                    <a:pt x="273" y="74"/>
                    <a:pt x="263" y="82"/>
                    <a:pt x="263" y="83"/>
                  </a:cubicBezTo>
                  <a:close/>
                  <a:moveTo>
                    <a:pt x="877" y="117"/>
                  </a:moveTo>
                  <a:cubicBezTo>
                    <a:pt x="875" y="114"/>
                    <a:pt x="870" y="110"/>
                    <a:pt x="868" y="111"/>
                  </a:cubicBezTo>
                  <a:cubicBezTo>
                    <a:pt x="866" y="112"/>
                    <a:pt x="875" y="120"/>
                    <a:pt x="879" y="121"/>
                  </a:cubicBezTo>
                  <a:cubicBezTo>
                    <a:pt x="880" y="122"/>
                    <a:pt x="881" y="121"/>
                    <a:pt x="880" y="120"/>
                  </a:cubicBezTo>
                  <a:cubicBezTo>
                    <a:pt x="880" y="119"/>
                    <a:pt x="879" y="118"/>
                    <a:pt x="877" y="117"/>
                  </a:cubicBezTo>
                  <a:close/>
                  <a:moveTo>
                    <a:pt x="899" y="108"/>
                  </a:moveTo>
                  <a:cubicBezTo>
                    <a:pt x="899" y="107"/>
                    <a:pt x="895" y="104"/>
                    <a:pt x="894" y="103"/>
                  </a:cubicBezTo>
                  <a:cubicBezTo>
                    <a:pt x="891" y="100"/>
                    <a:pt x="886" y="97"/>
                    <a:pt x="886" y="98"/>
                  </a:cubicBezTo>
                  <a:cubicBezTo>
                    <a:pt x="885" y="99"/>
                    <a:pt x="898" y="108"/>
                    <a:pt x="899" y="108"/>
                  </a:cubicBezTo>
                  <a:close/>
                  <a:moveTo>
                    <a:pt x="369" y="34"/>
                  </a:moveTo>
                  <a:cubicBezTo>
                    <a:pt x="369" y="33"/>
                    <a:pt x="369" y="33"/>
                    <a:pt x="369" y="33"/>
                  </a:cubicBezTo>
                  <a:cubicBezTo>
                    <a:pt x="366" y="34"/>
                    <a:pt x="355" y="39"/>
                    <a:pt x="355" y="40"/>
                  </a:cubicBezTo>
                  <a:cubicBezTo>
                    <a:pt x="356" y="41"/>
                    <a:pt x="361" y="39"/>
                    <a:pt x="363" y="37"/>
                  </a:cubicBezTo>
                  <a:cubicBezTo>
                    <a:pt x="364" y="37"/>
                    <a:pt x="369" y="34"/>
                    <a:pt x="369" y="34"/>
                  </a:cubicBezTo>
                  <a:close/>
                  <a:moveTo>
                    <a:pt x="884" y="135"/>
                  </a:moveTo>
                  <a:cubicBezTo>
                    <a:pt x="886" y="136"/>
                    <a:pt x="887" y="135"/>
                    <a:pt x="886" y="134"/>
                  </a:cubicBezTo>
                  <a:cubicBezTo>
                    <a:pt x="886" y="133"/>
                    <a:pt x="885" y="132"/>
                    <a:pt x="884" y="130"/>
                  </a:cubicBezTo>
                  <a:cubicBezTo>
                    <a:pt x="881" y="128"/>
                    <a:pt x="877" y="124"/>
                    <a:pt x="874" y="124"/>
                  </a:cubicBezTo>
                  <a:cubicBezTo>
                    <a:pt x="872" y="125"/>
                    <a:pt x="880" y="134"/>
                    <a:pt x="884" y="135"/>
                  </a:cubicBezTo>
                  <a:close/>
                  <a:moveTo>
                    <a:pt x="892" y="130"/>
                  </a:moveTo>
                  <a:cubicBezTo>
                    <a:pt x="889" y="128"/>
                    <a:pt x="884" y="124"/>
                    <a:pt x="883" y="124"/>
                  </a:cubicBezTo>
                  <a:cubicBezTo>
                    <a:pt x="880" y="125"/>
                    <a:pt x="889" y="134"/>
                    <a:pt x="893" y="135"/>
                  </a:cubicBezTo>
                  <a:cubicBezTo>
                    <a:pt x="894" y="136"/>
                    <a:pt x="895" y="135"/>
                    <a:pt x="894" y="134"/>
                  </a:cubicBezTo>
                  <a:cubicBezTo>
                    <a:pt x="894" y="133"/>
                    <a:pt x="893" y="132"/>
                    <a:pt x="892" y="130"/>
                  </a:cubicBezTo>
                  <a:close/>
                  <a:moveTo>
                    <a:pt x="369" y="37"/>
                  </a:moveTo>
                  <a:cubicBezTo>
                    <a:pt x="369" y="37"/>
                    <a:pt x="374" y="34"/>
                    <a:pt x="374" y="34"/>
                  </a:cubicBezTo>
                  <a:cubicBezTo>
                    <a:pt x="374" y="33"/>
                    <a:pt x="374" y="33"/>
                    <a:pt x="374" y="33"/>
                  </a:cubicBezTo>
                  <a:cubicBezTo>
                    <a:pt x="370" y="34"/>
                    <a:pt x="360" y="39"/>
                    <a:pt x="361" y="40"/>
                  </a:cubicBezTo>
                  <a:cubicBezTo>
                    <a:pt x="361" y="41"/>
                    <a:pt x="366" y="39"/>
                    <a:pt x="369" y="37"/>
                  </a:cubicBezTo>
                  <a:close/>
                  <a:moveTo>
                    <a:pt x="871" y="121"/>
                  </a:moveTo>
                  <a:cubicBezTo>
                    <a:pt x="872" y="122"/>
                    <a:pt x="873" y="121"/>
                    <a:pt x="872" y="120"/>
                  </a:cubicBezTo>
                  <a:cubicBezTo>
                    <a:pt x="872" y="119"/>
                    <a:pt x="871" y="118"/>
                    <a:pt x="870" y="117"/>
                  </a:cubicBezTo>
                  <a:cubicBezTo>
                    <a:pt x="867" y="114"/>
                    <a:pt x="862" y="110"/>
                    <a:pt x="860" y="111"/>
                  </a:cubicBezTo>
                  <a:cubicBezTo>
                    <a:pt x="858" y="112"/>
                    <a:pt x="867" y="120"/>
                    <a:pt x="871" y="121"/>
                  </a:cubicBezTo>
                  <a:close/>
                  <a:moveTo>
                    <a:pt x="203" y="121"/>
                  </a:moveTo>
                  <a:cubicBezTo>
                    <a:pt x="203" y="122"/>
                    <a:pt x="207" y="118"/>
                    <a:pt x="210" y="117"/>
                  </a:cubicBezTo>
                  <a:cubicBezTo>
                    <a:pt x="212" y="115"/>
                    <a:pt x="216" y="111"/>
                    <a:pt x="216" y="111"/>
                  </a:cubicBezTo>
                  <a:cubicBezTo>
                    <a:pt x="216" y="111"/>
                    <a:pt x="216" y="111"/>
                    <a:pt x="216" y="111"/>
                  </a:cubicBezTo>
                  <a:cubicBezTo>
                    <a:pt x="213" y="112"/>
                    <a:pt x="203" y="120"/>
                    <a:pt x="203" y="121"/>
                  </a:cubicBezTo>
                  <a:close/>
                  <a:moveTo>
                    <a:pt x="835" y="67"/>
                  </a:moveTo>
                  <a:cubicBezTo>
                    <a:pt x="832" y="65"/>
                    <a:pt x="827" y="62"/>
                    <a:pt x="826" y="62"/>
                  </a:cubicBezTo>
                  <a:cubicBezTo>
                    <a:pt x="826" y="62"/>
                    <a:pt x="826" y="62"/>
                    <a:pt x="826" y="62"/>
                  </a:cubicBezTo>
                  <a:cubicBezTo>
                    <a:pt x="827" y="64"/>
                    <a:pt x="839" y="71"/>
                    <a:pt x="840" y="71"/>
                  </a:cubicBezTo>
                  <a:cubicBezTo>
                    <a:pt x="840" y="71"/>
                    <a:pt x="840" y="71"/>
                    <a:pt x="840" y="71"/>
                  </a:cubicBezTo>
                  <a:cubicBezTo>
                    <a:pt x="840" y="70"/>
                    <a:pt x="836" y="68"/>
                    <a:pt x="835" y="67"/>
                  </a:cubicBezTo>
                  <a:close/>
                  <a:moveTo>
                    <a:pt x="822" y="62"/>
                  </a:moveTo>
                  <a:cubicBezTo>
                    <a:pt x="822" y="64"/>
                    <a:pt x="835" y="72"/>
                    <a:pt x="836" y="71"/>
                  </a:cubicBezTo>
                  <a:cubicBezTo>
                    <a:pt x="836" y="70"/>
                    <a:pt x="832" y="68"/>
                    <a:pt x="831" y="67"/>
                  </a:cubicBezTo>
                  <a:cubicBezTo>
                    <a:pt x="828" y="65"/>
                    <a:pt x="823" y="62"/>
                    <a:pt x="822" y="62"/>
                  </a:cubicBezTo>
                  <a:cubicBezTo>
                    <a:pt x="822" y="62"/>
                    <a:pt x="822" y="62"/>
                    <a:pt x="822" y="62"/>
                  </a:cubicBezTo>
                  <a:close/>
                  <a:moveTo>
                    <a:pt x="848" y="79"/>
                  </a:moveTo>
                  <a:cubicBezTo>
                    <a:pt x="845" y="76"/>
                    <a:pt x="840" y="73"/>
                    <a:pt x="839" y="73"/>
                  </a:cubicBezTo>
                  <a:cubicBezTo>
                    <a:pt x="839" y="74"/>
                    <a:pt x="839" y="74"/>
                    <a:pt x="839" y="74"/>
                  </a:cubicBezTo>
                  <a:cubicBezTo>
                    <a:pt x="839" y="74"/>
                    <a:pt x="844" y="78"/>
                    <a:pt x="846" y="79"/>
                  </a:cubicBezTo>
                  <a:cubicBezTo>
                    <a:pt x="850" y="82"/>
                    <a:pt x="853" y="83"/>
                    <a:pt x="853" y="83"/>
                  </a:cubicBezTo>
                  <a:cubicBezTo>
                    <a:pt x="853" y="82"/>
                    <a:pt x="851" y="80"/>
                    <a:pt x="848" y="79"/>
                  </a:cubicBezTo>
                  <a:close/>
                  <a:moveTo>
                    <a:pt x="934" y="136"/>
                  </a:moveTo>
                  <a:cubicBezTo>
                    <a:pt x="934" y="135"/>
                    <a:pt x="930" y="131"/>
                    <a:pt x="930" y="130"/>
                  </a:cubicBezTo>
                  <a:cubicBezTo>
                    <a:pt x="926" y="127"/>
                    <a:pt x="922" y="124"/>
                    <a:pt x="922" y="124"/>
                  </a:cubicBezTo>
                  <a:cubicBezTo>
                    <a:pt x="921" y="125"/>
                    <a:pt x="933" y="136"/>
                    <a:pt x="934" y="136"/>
                  </a:cubicBezTo>
                  <a:close/>
                  <a:moveTo>
                    <a:pt x="264" y="85"/>
                  </a:moveTo>
                  <a:cubicBezTo>
                    <a:pt x="260" y="86"/>
                    <a:pt x="250" y="94"/>
                    <a:pt x="251" y="95"/>
                  </a:cubicBezTo>
                  <a:cubicBezTo>
                    <a:pt x="251" y="95"/>
                    <a:pt x="255" y="93"/>
                    <a:pt x="259" y="91"/>
                  </a:cubicBezTo>
                  <a:cubicBezTo>
                    <a:pt x="262" y="88"/>
                    <a:pt x="265" y="85"/>
                    <a:pt x="264" y="85"/>
                  </a:cubicBezTo>
                  <a:cubicBezTo>
                    <a:pt x="264" y="85"/>
                    <a:pt x="264" y="85"/>
                    <a:pt x="264" y="85"/>
                  </a:cubicBezTo>
                  <a:close/>
                  <a:moveTo>
                    <a:pt x="912" y="130"/>
                  </a:moveTo>
                  <a:cubicBezTo>
                    <a:pt x="909" y="127"/>
                    <a:pt x="904" y="124"/>
                    <a:pt x="903" y="124"/>
                  </a:cubicBezTo>
                  <a:cubicBezTo>
                    <a:pt x="901" y="126"/>
                    <a:pt x="913" y="135"/>
                    <a:pt x="915" y="136"/>
                  </a:cubicBezTo>
                  <a:cubicBezTo>
                    <a:pt x="916" y="136"/>
                    <a:pt x="916" y="135"/>
                    <a:pt x="915" y="134"/>
                  </a:cubicBezTo>
                  <a:cubicBezTo>
                    <a:pt x="915" y="133"/>
                    <a:pt x="914" y="132"/>
                    <a:pt x="912" y="130"/>
                  </a:cubicBezTo>
                  <a:close/>
                  <a:moveTo>
                    <a:pt x="269" y="85"/>
                  </a:moveTo>
                  <a:cubicBezTo>
                    <a:pt x="265" y="86"/>
                    <a:pt x="255" y="94"/>
                    <a:pt x="256" y="95"/>
                  </a:cubicBezTo>
                  <a:cubicBezTo>
                    <a:pt x="257" y="95"/>
                    <a:pt x="260" y="93"/>
                    <a:pt x="264" y="91"/>
                  </a:cubicBezTo>
                  <a:cubicBezTo>
                    <a:pt x="267" y="88"/>
                    <a:pt x="270" y="85"/>
                    <a:pt x="269" y="85"/>
                  </a:cubicBezTo>
                  <a:cubicBezTo>
                    <a:pt x="269" y="85"/>
                    <a:pt x="269" y="85"/>
                    <a:pt x="269" y="85"/>
                  </a:cubicBezTo>
                  <a:close/>
                  <a:moveTo>
                    <a:pt x="274" y="85"/>
                  </a:moveTo>
                  <a:cubicBezTo>
                    <a:pt x="270" y="86"/>
                    <a:pt x="260" y="94"/>
                    <a:pt x="262" y="95"/>
                  </a:cubicBezTo>
                  <a:cubicBezTo>
                    <a:pt x="263" y="95"/>
                    <a:pt x="266" y="93"/>
                    <a:pt x="270" y="91"/>
                  </a:cubicBezTo>
                  <a:cubicBezTo>
                    <a:pt x="274" y="88"/>
                    <a:pt x="276" y="85"/>
                    <a:pt x="275" y="85"/>
                  </a:cubicBezTo>
                  <a:cubicBezTo>
                    <a:pt x="275" y="85"/>
                    <a:pt x="274" y="85"/>
                    <a:pt x="274" y="85"/>
                  </a:cubicBezTo>
                  <a:close/>
                  <a:moveTo>
                    <a:pt x="900" y="103"/>
                  </a:moveTo>
                  <a:cubicBezTo>
                    <a:pt x="896" y="100"/>
                    <a:pt x="892" y="97"/>
                    <a:pt x="891" y="98"/>
                  </a:cubicBezTo>
                  <a:cubicBezTo>
                    <a:pt x="892" y="99"/>
                    <a:pt x="903" y="108"/>
                    <a:pt x="905" y="108"/>
                  </a:cubicBezTo>
                  <a:cubicBezTo>
                    <a:pt x="905" y="108"/>
                    <a:pt x="905" y="108"/>
                    <a:pt x="905" y="108"/>
                  </a:cubicBezTo>
                  <a:cubicBezTo>
                    <a:pt x="904" y="107"/>
                    <a:pt x="900" y="104"/>
                    <a:pt x="900" y="103"/>
                  </a:cubicBezTo>
                  <a:close/>
                  <a:moveTo>
                    <a:pt x="932" y="130"/>
                  </a:moveTo>
                  <a:cubicBezTo>
                    <a:pt x="929" y="127"/>
                    <a:pt x="925" y="124"/>
                    <a:pt x="924" y="124"/>
                  </a:cubicBezTo>
                  <a:cubicBezTo>
                    <a:pt x="925" y="125"/>
                    <a:pt x="936" y="136"/>
                    <a:pt x="937" y="136"/>
                  </a:cubicBezTo>
                  <a:cubicBezTo>
                    <a:pt x="937" y="135"/>
                    <a:pt x="934" y="132"/>
                    <a:pt x="932" y="130"/>
                  </a:cubicBezTo>
                  <a:close/>
                  <a:moveTo>
                    <a:pt x="915" y="121"/>
                  </a:moveTo>
                  <a:cubicBezTo>
                    <a:pt x="915" y="121"/>
                    <a:pt x="911" y="117"/>
                    <a:pt x="910" y="117"/>
                  </a:cubicBezTo>
                  <a:cubicBezTo>
                    <a:pt x="907" y="114"/>
                    <a:pt x="903" y="110"/>
                    <a:pt x="902" y="111"/>
                  </a:cubicBezTo>
                  <a:cubicBezTo>
                    <a:pt x="902" y="112"/>
                    <a:pt x="914" y="122"/>
                    <a:pt x="915" y="121"/>
                  </a:cubicBezTo>
                  <a:close/>
                  <a:moveTo>
                    <a:pt x="902" y="108"/>
                  </a:moveTo>
                  <a:cubicBezTo>
                    <a:pt x="902" y="107"/>
                    <a:pt x="899" y="105"/>
                    <a:pt x="897" y="103"/>
                  </a:cubicBezTo>
                  <a:cubicBezTo>
                    <a:pt x="894" y="100"/>
                    <a:pt x="889" y="97"/>
                    <a:pt x="889" y="98"/>
                  </a:cubicBezTo>
                  <a:cubicBezTo>
                    <a:pt x="889" y="99"/>
                    <a:pt x="901" y="108"/>
                    <a:pt x="902" y="108"/>
                  </a:cubicBezTo>
                  <a:close/>
                  <a:moveTo>
                    <a:pt x="931" y="136"/>
                  </a:moveTo>
                  <a:cubicBezTo>
                    <a:pt x="931" y="135"/>
                    <a:pt x="927" y="131"/>
                    <a:pt x="926" y="130"/>
                  </a:cubicBezTo>
                  <a:cubicBezTo>
                    <a:pt x="923" y="127"/>
                    <a:pt x="919" y="124"/>
                    <a:pt x="918" y="124"/>
                  </a:cubicBezTo>
                  <a:cubicBezTo>
                    <a:pt x="917" y="125"/>
                    <a:pt x="929" y="136"/>
                    <a:pt x="931" y="136"/>
                  </a:cubicBezTo>
                  <a:close/>
                  <a:moveTo>
                    <a:pt x="918" y="121"/>
                  </a:moveTo>
                  <a:cubicBezTo>
                    <a:pt x="919" y="121"/>
                    <a:pt x="914" y="117"/>
                    <a:pt x="914" y="117"/>
                  </a:cubicBezTo>
                  <a:cubicBezTo>
                    <a:pt x="910" y="114"/>
                    <a:pt x="906" y="110"/>
                    <a:pt x="905" y="111"/>
                  </a:cubicBezTo>
                  <a:cubicBezTo>
                    <a:pt x="905" y="112"/>
                    <a:pt x="917" y="122"/>
                    <a:pt x="918" y="121"/>
                  </a:cubicBezTo>
                  <a:close/>
                  <a:moveTo>
                    <a:pt x="916" y="117"/>
                  </a:moveTo>
                  <a:cubicBezTo>
                    <a:pt x="913" y="114"/>
                    <a:pt x="909" y="110"/>
                    <a:pt x="908" y="111"/>
                  </a:cubicBezTo>
                  <a:cubicBezTo>
                    <a:pt x="908" y="112"/>
                    <a:pt x="920" y="121"/>
                    <a:pt x="921" y="121"/>
                  </a:cubicBezTo>
                  <a:cubicBezTo>
                    <a:pt x="921" y="121"/>
                    <a:pt x="921" y="121"/>
                    <a:pt x="921" y="121"/>
                  </a:cubicBezTo>
                  <a:cubicBezTo>
                    <a:pt x="921" y="120"/>
                    <a:pt x="917" y="117"/>
                    <a:pt x="916" y="117"/>
                  </a:cubicBezTo>
                  <a:close/>
                  <a:moveTo>
                    <a:pt x="240" y="108"/>
                  </a:moveTo>
                  <a:cubicBezTo>
                    <a:pt x="241" y="108"/>
                    <a:pt x="244" y="106"/>
                    <a:pt x="248" y="103"/>
                  </a:cubicBezTo>
                  <a:cubicBezTo>
                    <a:pt x="252" y="100"/>
                    <a:pt x="254" y="98"/>
                    <a:pt x="253" y="98"/>
                  </a:cubicBezTo>
                  <a:cubicBezTo>
                    <a:pt x="253" y="98"/>
                    <a:pt x="253" y="98"/>
                    <a:pt x="253" y="98"/>
                  </a:cubicBezTo>
                  <a:cubicBezTo>
                    <a:pt x="249" y="99"/>
                    <a:pt x="239" y="107"/>
                    <a:pt x="240" y="108"/>
                  </a:cubicBezTo>
                  <a:close/>
                  <a:moveTo>
                    <a:pt x="875" y="130"/>
                  </a:moveTo>
                  <a:cubicBezTo>
                    <a:pt x="873" y="128"/>
                    <a:pt x="868" y="124"/>
                    <a:pt x="866" y="124"/>
                  </a:cubicBezTo>
                  <a:cubicBezTo>
                    <a:pt x="863" y="125"/>
                    <a:pt x="870" y="133"/>
                    <a:pt x="875" y="135"/>
                  </a:cubicBezTo>
                  <a:cubicBezTo>
                    <a:pt x="877" y="136"/>
                    <a:pt x="878" y="136"/>
                    <a:pt x="877" y="134"/>
                  </a:cubicBezTo>
                  <a:cubicBezTo>
                    <a:pt x="877" y="133"/>
                    <a:pt x="877" y="132"/>
                    <a:pt x="875" y="130"/>
                  </a:cubicBezTo>
                  <a:close/>
                  <a:moveTo>
                    <a:pt x="219" y="121"/>
                  </a:moveTo>
                  <a:cubicBezTo>
                    <a:pt x="220" y="122"/>
                    <a:pt x="223" y="120"/>
                    <a:pt x="227" y="117"/>
                  </a:cubicBezTo>
                  <a:cubicBezTo>
                    <a:pt x="230" y="114"/>
                    <a:pt x="233" y="111"/>
                    <a:pt x="232" y="111"/>
                  </a:cubicBezTo>
                  <a:cubicBezTo>
                    <a:pt x="232" y="111"/>
                    <a:pt x="231" y="111"/>
                    <a:pt x="231" y="111"/>
                  </a:cubicBezTo>
                  <a:cubicBezTo>
                    <a:pt x="227" y="112"/>
                    <a:pt x="218" y="121"/>
                    <a:pt x="219" y="121"/>
                  </a:cubicBezTo>
                  <a:close/>
                  <a:moveTo>
                    <a:pt x="841" y="83"/>
                  </a:moveTo>
                  <a:cubicBezTo>
                    <a:pt x="842" y="83"/>
                    <a:pt x="842" y="82"/>
                    <a:pt x="841" y="82"/>
                  </a:cubicBezTo>
                  <a:cubicBezTo>
                    <a:pt x="841" y="81"/>
                    <a:pt x="840" y="80"/>
                    <a:pt x="838" y="79"/>
                  </a:cubicBezTo>
                  <a:cubicBezTo>
                    <a:pt x="834" y="76"/>
                    <a:pt x="830" y="73"/>
                    <a:pt x="828" y="73"/>
                  </a:cubicBezTo>
                  <a:cubicBezTo>
                    <a:pt x="827" y="74"/>
                    <a:pt x="839" y="82"/>
                    <a:pt x="841" y="83"/>
                  </a:cubicBezTo>
                  <a:close/>
                  <a:moveTo>
                    <a:pt x="817" y="62"/>
                  </a:moveTo>
                  <a:cubicBezTo>
                    <a:pt x="817" y="63"/>
                    <a:pt x="822" y="67"/>
                    <a:pt x="824" y="68"/>
                  </a:cubicBezTo>
                  <a:cubicBezTo>
                    <a:pt x="829" y="71"/>
                    <a:pt x="831" y="71"/>
                    <a:pt x="831" y="71"/>
                  </a:cubicBezTo>
                  <a:cubicBezTo>
                    <a:pt x="831" y="71"/>
                    <a:pt x="829" y="69"/>
                    <a:pt x="826" y="67"/>
                  </a:cubicBezTo>
                  <a:cubicBezTo>
                    <a:pt x="823" y="65"/>
                    <a:pt x="818" y="62"/>
                    <a:pt x="817" y="62"/>
                  </a:cubicBezTo>
                  <a:cubicBezTo>
                    <a:pt x="817" y="62"/>
                    <a:pt x="817" y="62"/>
                    <a:pt x="817" y="62"/>
                  </a:cubicBezTo>
                  <a:close/>
                  <a:moveTo>
                    <a:pt x="214" y="121"/>
                  </a:moveTo>
                  <a:cubicBezTo>
                    <a:pt x="215" y="122"/>
                    <a:pt x="218" y="120"/>
                    <a:pt x="221" y="117"/>
                  </a:cubicBezTo>
                  <a:cubicBezTo>
                    <a:pt x="225" y="114"/>
                    <a:pt x="228" y="111"/>
                    <a:pt x="227" y="111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23" y="112"/>
                    <a:pt x="213" y="121"/>
                    <a:pt x="214" y="121"/>
                  </a:cubicBezTo>
                  <a:close/>
                  <a:moveTo>
                    <a:pt x="210" y="121"/>
                  </a:moveTo>
                  <a:cubicBezTo>
                    <a:pt x="211" y="122"/>
                    <a:pt x="215" y="118"/>
                    <a:pt x="217" y="117"/>
                  </a:cubicBezTo>
                  <a:cubicBezTo>
                    <a:pt x="219" y="115"/>
                    <a:pt x="223" y="111"/>
                    <a:pt x="223" y="111"/>
                  </a:cubicBezTo>
                  <a:cubicBezTo>
                    <a:pt x="222" y="111"/>
                    <a:pt x="222" y="111"/>
                    <a:pt x="222" y="111"/>
                  </a:cubicBezTo>
                  <a:cubicBezTo>
                    <a:pt x="219" y="112"/>
                    <a:pt x="209" y="120"/>
                    <a:pt x="210" y="121"/>
                  </a:cubicBezTo>
                  <a:close/>
                  <a:moveTo>
                    <a:pt x="834" y="95"/>
                  </a:moveTo>
                  <a:cubicBezTo>
                    <a:pt x="836" y="95"/>
                    <a:pt x="836" y="95"/>
                    <a:pt x="836" y="94"/>
                  </a:cubicBezTo>
                  <a:cubicBezTo>
                    <a:pt x="835" y="93"/>
                    <a:pt x="834" y="92"/>
                    <a:pt x="833" y="91"/>
                  </a:cubicBezTo>
                  <a:cubicBezTo>
                    <a:pt x="830" y="88"/>
                    <a:pt x="826" y="85"/>
                    <a:pt x="824" y="85"/>
                  </a:cubicBezTo>
                  <a:cubicBezTo>
                    <a:pt x="822" y="86"/>
                    <a:pt x="829" y="93"/>
                    <a:pt x="834" y="95"/>
                  </a:cubicBezTo>
                  <a:close/>
                  <a:moveTo>
                    <a:pt x="247" y="98"/>
                  </a:moveTo>
                  <a:cubicBezTo>
                    <a:pt x="244" y="99"/>
                    <a:pt x="234" y="107"/>
                    <a:pt x="235" y="108"/>
                  </a:cubicBezTo>
                  <a:cubicBezTo>
                    <a:pt x="235" y="108"/>
                    <a:pt x="239" y="106"/>
                    <a:pt x="242" y="103"/>
                  </a:cubicBezTo>
                  <a:cubicBezTo>
                    <a:pt x="246" y="100"/>
                    <a:pt x="249" y="98"/>
                    <a:pt x="248" y="98"/>
                  </a:cubicBezTo>
                  <a:cubicBezTo>
                    <a:pt x="248" y="98"/>
                    <a:pt x="247" y="98"/>
                    <a:pt x="247" y="98"/>
                  </a:cubicBezTo>
                  <a:close/>
                  <a:moveTo>
                    <a:pt x="243" y="98"/>
                  </a:moveTo>
                  <a:cubicBezTo>
                    <a:pt x="239" y="99"/>
                    <a:pt x="229" y="107"/>
                    <a:pt x="230" y="108"/>
                  </a:cubicBezTo>
                  <a:cubicBezTo>
                    <a:pt x="230" y="108"/>
                    <a:pt x="234" y="106"/>
                    <a:pt x="237" y="103"/>
                  </a:cubicBezTo>
                  <a:cubicBezTo>
                    <a:pt x="241" y="101"/>
                    <a:pt x="244" y="98"/>
                    <a:pt x="243" y="98"/>
                  </a:cubicBezTo>
                  <a:cubicBezTo>
                    <a:pt x="243" y="98"/>
                    <a:pt x="243" y="98"/>
                    <a:pt x="243" y="98"/>
                  </a:cubicBezTo>
                  <a:close/>
                  <a:moveTo>
                    <a:pt x="236" y="95"/>
                  </a:moveTo>
                  <a:cubicBezTo>
                    <a:pt x="237" y="95"/>
                    <a:pt x="241" y="92"/>
                    <a:pt x="243" y="91"/>
                  </a:cubicBezTo>
                  <a:cubicBezTo>
                    <a:pt x="243" y="90"/>
                    <a:pt x="250" y="86"/>
                    <a:pt x="250" y="85"/>
                  </a:cubicBezTo>
                  <a:cubicBezTo>
                    <a:pt x="250" y="85"/>
                    <a:pt x="250" y="85"/>
                    <a:pt x="250" y="85"/>
                  </a:cubicBezTo>
                  <a:cubicBezTo>
                    <a:pt x="247" y="86"/>
                    <a:pt x="236" y="94"/>
                    <a:pt x="236" y="95"/>
                  </a:cubicBezTo>
                  <a:close/>
                  <a:moveTo>
                    <a:pt x="226" y="108"/>
                  </a:moveTo>
                  <a:cubicBezTo>
                    <a:pt x="226" y="108"/>
                    <a:pt x="231" y="105"/>
                    <a:pt x="233" y="103"/>
                  </a:cubicBezTo>
                  <a:cubicBezTo>
                    <a:pt x="235" y="102"/>
                    <a:pt x="239" y="98"/>
                    <a:pt x="239" y="98"/>
                  </a:cubicBezTo>
                  <a:cubicBezTo>
                    <a:pt x="239" y="98"/>
                    <a:pt x="239" y="98"/>
                    <a:pt x="239" y="98"/>
                  </a:cubicBezTo>
                  <a:cubicBezTo>
                    <a:pt x="236" y="99"/>
                    <a:pt x="225" y="107"/>
                    <a:pt x="226" y="108"/>
                  </a:cubicBezTo>
                  <a:close/>
                  <a:moveTo>
                    <a:pt x="1123" y="517"/>
                  </a:moveTo>
                  <a:cubicBezTo>
                    <a:pt x="1122" y="512"/>
                    <a:pt x="1122" y="508"/>
                    <a:pt x="1122" y="504"/>
                  </a:cubicBezTo>
                  <a:cubicBezTo>
                    <a:pt x="1122" y="503"/>
                    <a:pt x="1122" y="503"/>
                    <a:pt x="1122" y="503"/>
                  </a:cubicBezTo>
                  <a:cubicBezTo>
                    <a:pt x="1122" y="503"/>
                    <a:pt x="1122" y="502"/>
                    <a:pt x="1122" y="501"/>
                  </a:cubicBezTo>
                  <a:cubicBezTo>
                    <a:pt x="1122" y="501"/>
                    <a:pt x="1122" y="501"/>
                    <a:pt x="1122" y="501"/>
                  </a:cubicBezTo>
                  <a:cubicBezTo>
                    <a:pt x="1122" y="503"/>
                    <a:pt x="1123" y="517"/>
                    <a:pt x="1123" y="519"/>
                  </a:cubicBezTo>
                  <a:cubicBezTo>
                    <a:pt x="1123" y="519"/>
                    <a:pt x="1123" y="519"/>
                    <a:pt x="1123" y="517"/>
                  </a:cubicBezTo>
                  <a:close/>
                  <a:moveTo>
                    <a:pt x="1092" y="367"/>
                  </a:moveTo>
                  <a:cubicBezTo>
                    <a:pt x="1092" y="366"/>
                    <a:pt x="1090" y="360"/>
                    <a:pt x="1090" y="359"/>
                  </a:cubicBezTo>
                  <a:cubicBezTo>
                    <a:pt x="1089" y="356"/>
                    <a:pt x="1087" y="351"/>
                    <a:pt x="1086" y="351"/>
                  </a:cubicBezTo>
                  <a:cubicBezTo>
                    <a:pt x="1086" y="351"/>
                    <a:pt x="1086" y="351"/>
                    <a:pt x="1086" y="351"/>
                  </a:cubicBezTo>
                  <a:cubicBezTo>
                    <a:pt x="1086" y="352"/>
                    <a:pt x="1091" y="365"/>
                    <a:pt x="1092" y="367"/>
                  </a:cubicBezTo>
                  <a:cubicBezTo>
                    <a:pt x="1092" y="367"/>
                    <a:pt x="1092" y="367"/>
                    <a:pt x="1092" y="367"/>
                  </a:cubicBezTo>
                  <a:close/>
                  <a:moveTo>
                    <a:pt x="1085" y="346"/>
                  </a:moveTo>
                  <a:cubicBezTo>
                    <a:pt x="1085" y="345"/>
                    <a:pt x="1083" y="340"/>
                    <a:pt x="1082" y="339"/>
                  </a:cubicBezTo>
                  <a:cubicBezTo>
                    <a:pt x="1081" y="336"/>
                    <a:pt x="1079" y="331"/>
                    <a:pt x="1078" y="330"/>
                  </a:cubicBezTo>
                  <a:cubicBezTo>
                    <a:pt x="1078" y="330"/>
                    <a:pt x="1078" y="330"/>
                    <a:pt x="1078" y="330"/>
                  </a:cubicBezTo>
                  <a:cubicBezTo>
                    <a:pt x="1078" y="332"/>
                    <a:pt x="1084" y="345"/>
                    <a:pt x="1085" y="346"/>
                  </a:cubicBezTo>
                  <a:cubicBezTo>
                    <a:pt x="1085" y="346"/>
                    <a:pt x="1085" y="346"/>
                    <a:pt x="1085" y="346"/>
                  </a:cubicBezTo>
                  <a:close/>
                  <a:moveTo>
                    <a:pt x="1122" y="524"/>
                  </a:moveTo>
                  <a:cubicBezTo>
                    <a:pt x="1121" y="526"/>
                    <a:pt x="1122" y="540"/>
                    <a:pt x="1123" y="542"/>
                  </a:cubicBezTo>
                  <a:cubicBezTo>
                    <a:pt x="1123" y="542"/>
                    <a:pt x="1123" y="542"/>
                    <a:pt x="1123" y="542"/>
                  </a:cubicBezTo>
                  <a:cubicBezTo>
                    <a:pt x="1123" y="541"/>
                    <a:pt x="1123" y="535"/>
                    <a:pt x="1123" y="534"/>
                  </a:cubicBezTo>
                  <a:cubicBezTo>
                    <a:pt x="1123" y="530"/>
                    <a:pt x="1123" y="525"/>
                    <a:pt x="1122" y="524"/>
                  </a:cubicBezTo>
                  <a:cubicBezTo>
                    <a:pt x="1122" y="524"/>
                    <a:pt x="1122" y="524"/>
                    <a:pt x="1122" y="524"/>
                  </a:cubicBezTo>
                  <a:close/>
                  <a:moveTo>
                    <a:pt x="1085" y="344"/>
                  </a:moveTo>
                  <a:cubicBezTo>
                    <a:pt x="1083" y="340"/>
                    <a:pt x="1082" y="336"/>
                    <a:pt x="1080" y="333"/>
                  </a:cubicBezTo>
                  <a:cubicBezTo>
                    <a:pt x="1080" y="332"/>
                    <a:pt x="1080" y="332"/>
                    <a:pt x="1080" y="332"/>
                  </a:cubicBezTo>
                  <a:cubicBezTo>
                    <a:pt x="1080" y="332"/>
                    <a:pt x="1079" y="331"/>
                    <a:pt x="1079" y="330"/>
                  </a:cubicBezTo>
                  <a:cubicBezTo>
                    <a:pt x="1079" y="330"/>
                    <a:pt x="1079" y="330"/>
                    <a:pt x="1079" y="330"/>
                  </a:cubicBezTo>
                  <a:cubicBezTo>
                    <a:pt x="1080" y="332"/>
                    <a:pt x="1085" y="345"/>
                    <a:pt x="1086" y="346"/>
                  </a:cubicBezTo>
                  <a:cubicBezTo>
                    <a:pt x="1086" y="346"/>
                    <a:pt x="1086" y="346"/>
                    <a:pt x="1085" y="344"/>
                  </a:cubicBezTo>
                  <a:close/>
                  <a:moveTo>
                    <a:pt x="1114" y="452"/>
                  </a:moveTo>
                  <a:cubicBezTo>
                    <a:pt x="1114" y="451"/>
                    <a:pt x="1113" y="445"/>
                    <a:pt x="1113" y="444"/>
                  </a:cubicBezTo>
                  <a:cubicBezTo>
                    <a:pt x="1113" y="441"/>
                    <a:pt x="1112" y="436"/>
                    <a:pt x="1111" y="435"/>
                  </a:cubicBezTo>
                  <a:cubicBezTo>
                    <a:pt x="1111" y="435"/>
                    <a:pt x="1111" y="435"/>
                    <a:pt x="1111" y="435"/>
                  </a:cubicBezTo>
                  <a:cubicBezTo>
                    <a:pt x="1111" y="436"/>
                    <a:pt x="1113" y="450"/>
                    <a:pt x="1114" y="452"/>
                  </a:cubicBezTo>
                  <a:cubicBezTo>
                    <a:pt x="1114" y="452"/>
                    <a:pt x="1114" y="452"/>
                    <a:pt x="1114" y="452"/>
                  </a:cubicBezTo>
                  <a:close/>
                  <a:moveTo>
                    <a:pt x="1110" y="430"/>
                  </a:moveTo>
                  <a:cubicBezTo>
                    <a:pt x="1110" y="429"/>
                    <a:pt x="1109" y="424"/>
                    <a:pt x="1109" y="423"/>
                  </a:cubicBezTo>
                  <a:cubicBezTo>
                    <a:pt x="1108" y="419"/>
                    <a:pt x="1107" y="414"/>
                    <a:pt x="1106" y="413"/>
                  </a:cubicBezTo>
                  <a:cubicBezTo>
                    <a:pt x="1106" y="413"/>
                    <a:pt x="1106" y="413"/>
                    <a:pt x="1106" y="413"/>
                  </a:cubicBezTo>
                  <a:cubicBezTo>
                    <a:pt x="1106" y="415"/>
                    <a:pt x="1109" y="429"/>
                    <a:pt x="1110" y="430"/>
                  </a:cubicBezTo>
                  <a:cubicBezTo>
                    <a:pt x="1110" y="430"/>
                    <a:pt x="1110" y="430"/>
                    <a:pt x="1110" y="430"/>
                  </a:cubicBezTo>
                  <a:close/>
                  <a:moveTo>
                    <a:pt x="1118" y="472"/>
                  </a:moveTo>
                  <a:cubicBezTo>
                    <a:pt x="1118" y="467"/>
                    <a:pt x="1117" y="463"/>
                    <a:pt x="1116" y="459"/>
                  </a:cubicBezTo>
                  <a:cubicBezTo>
                    <a:pt x="1116" y="459"/>
                    <a:pt x="1116" y="459"/>
                    <a:pt x="1116" y="459"/>
                  </a:cubicBezTo>
                  <a:cubicBezTo>
                    <a:pt x="1116" y="458"/>
                    <a:pt x="1116" y="457"/>
                    <a:pt x="1116" y="457"/>
                  </a:cubicBezTo>
                  <a:cubicBezTo>
                    <a:pt x="1116" y="457"/>
                    <a:pt x="1116" y="457"/>
                    <a:pt x="1116" y="457"/>
                  </a:cubicBezTo>
                  <a:cubicBezTo>
                    <a:pt x="1116" y="458"/>
                    <a:pt x="1118" y="472"/>
                    <a:pt x="1119" y="474"/>
                  </a:cubicBezTo>
                  <a:cubicBezTo>
                    <a:pt x="1119" y="474"/>
                    <a:pt x="1119" y="474"/>
                    <a:pt x="1118" y="472"/>
                  </a:cubicBezTo>
                  <a:close/>
                  <a:moveTo>
                    <a:pt x="1110" y="428"/>
                  </a:moveTo>
                  <a:cubicBezTo>
                    <a:pt x="1109" y="424"/>
                    <a:pt x="1108" y="420"/>
                    <a:pt x="1107" y="416"/>
                  </a:cubicBezTo>
                  <a:cubicBezTo>
                    <a:pt x="1107" y="415"/>
                    <a:pt x="1107" y="415"/>
                    <a:pt x="1107" y="415"/>
                  </a:cubicBezTo>
                  <a:cubicBezTo>
                    <a:pt x="1107" y="415"/>
                    <a:pt x="1107" y="414"/>
                    <a:pt x="1107" y="413"/>
                  </a:cubicBezTo>
                  <a:cubicBezTo>
                    <a:pt x="1107" y="413"/>
                    <a:pt x="1107" y="413"/>
                    <a:pt x="1107" y="413"/>
                  </a:cubicBezTo>
                  <a:cubicBezTo>
                    <a:pt x="1107" y="415"/>
                    <a:pt x="1110" y="429"/>
                    <a:pt x="1111" y="430"/>
                  </a:cubicBezTo>
                  <a:cubicBezTo>
                    <a:pt x="1111" y="430"/>
                    <a:pt x="1111" y="430"/>
                    <a:pt x="1110" y="428"/>
                  </a:cubicBezTo>
                  <a:close/>
                  <a:moveTo>
                    <a:pt x="1115" y="450"/>
                  </a:moveTo>
                  <a:cubicBezTo>
                    <a:pt x="1114" y="445"/>
                    <a:pt x="1113" y="441"/>
                    <a:pt x="1112" y="437"/>
                  </a:cubicBezTo>
                  <a:cubicBezTo>
                    <a:pt x="1112" y="437"/>
                    <a:pt x="1112" y="437"/>
                    <a:pt x="1112" y="437"/>
                  </a:cubicBezTo>
                  <a:cubicBezTo>
                    <a:pt x="1112" y="436"/>
                    <a:pt x="1112" y="435"/>
                    <a:pt x="1112" y="435"/>
                  </a:cubicBezTo>
                  <a:cubicBezTo>
                    <a:pt x="1112" y="435"/>
                    <a:pt x="1112" y="435"/>
                    <a:pt x="1112" y="435"/>
                  </a:cubicBezTo>
                  <a:cubicBezTo>
                    <a:pt x="1112" y="436"/>
                    <a:pt x="1115" y="450"/>
                    <a:pt x="1115" y="452"/>
                  </a:cubicBezTo>
                  <a:cubicBezTo>
                    <a:pt x="1115" y="452"/>
                    <a:pt x="1115" y="452"/>
                    <a:pt x="1115" y="450"/>
                  </a:cubicBezTo>
                  <a:close/>
                  <a:moveTo>
                    <a:pt x="1099" y="388"/>
                  </a:moveTo>
                  <a:cubicBezTo>
                    <a:pt x="1099" y="387"/>
                    <a:pt x="1097" y="381"/>
                    <a:pt x="1097" y="380"/>
                  </a:cubicBezTo>
                  <a:cubicBezTo>
                    <a:pt x="1096" y="377"/>
                    <a:pt x="1094" y="372"/>
                    <a:pt x="1094" y="371"/>
                  </a:cubicBezTo>
                  <a:cubicBezTo>
                    <a:pt x="1094" y="371"/>
                    <a:pt x="1094" y="371"/>
                    <a:pt x="1094" y="371"/>
                  </a:cubicBezTo>
                  <a:cubicBezTo>
                    <a:pt x="1094" y="373"/>
                    <a:pt x="1098" y="386"/>
                    <a:pt x="1099" y="388"/>
                  </a:cubicBezTo>
                  <a:cubicBezTo>
                    <a:pt x="1099" y="388"/>
                    <a:pt x="1099" y="388"/>
                    <a:pt x="1099" y="388"/>
                  </a:cubicBezTo>
                  <a:close/>
                  <a:moveTo>
                    <a:pt x="1105" y="406"/>
                  </a:moveTo>
                  <a:cubicBezTo>
                    <a:pt x="1104" y="402"/>
                    <a:pt x="1103" y="398"/>
                    <a:pt x="1102" y="394"/>
                  </a:cubicBezTo>
                  <a:cubicBezTo>
                    <a:pt x="1102" y="394"/>
                    <a:pt x="1102" y="394"/>
                    <a:pt x="1102" y="394"/>
                  </a:cubicBezTo>
                  <a:cubicBezTo>
                    <a:pt x="1101" y="393"/>
                    <a:pt x="1101" y="393"/>
                    <a:pt x="1101" y="392"/>
                  </a:cubicBezTo>
                  <a:cubicBezTo>
                    <a:pt x="1101" y="392"/>
                    <a:pt x="1101" y="392"/>
                    <a:pt x="1101" y="392"/>
                  </a:cubicBezTo>
                  <a:cubicBezTo>
                    <a:pt x="1101" y="394"/>
                    <a:pt x="1105" y="407"/>
                    <a:pt x="1106" y="409"/>
                  </a:cubicBezTo>
                  <a:cubicBezTo>
                    <a:pt x="1106" y="409"/>
                    <a:pt x="1106" y="409"/>
                    <a:pt x="1105" y="406"/>
                  </a:cubicBezTo>
                  <a:close/>
                  <a:moveTo>
                    <a:pt x="1092" y="364"/>
                  </a:moveTo>
                  <a:cubicBezTo>
                    <a:pt x="1091" y="361"/>
                    <a:pt x="1090" y="357"/>
                    <a:pt x="1088" y="353"/>
                  </a:cubicBezTo>
                  <a:cubicBezTo>
                    <a:pt x="1088" y="352"/>
                    <a:pt x="1088" y="352"/>
                    <a:pt x="1088" y="352"/>
                  </a:cubicBezTo>
                  <a:cubicBezTo>
                    <a:pt x="1088" y="352"/>
                    <a:pt x="1087" y="351"/>
                    <a:pt x="1087" y="351"/>
                  </a:cubicBezTo>
                  <a:cubicBezTo>
                    <a:pt x="1087" y="351"/>
                    <a:pt x="1087" y="351"/>
                    <a:pt x="1087" y="351"/>
                  </a:cubicBezTo>
                  <a:cubicBezTo>
                    <a:pt x="1088" y="352"/>
                    <a:pt x="1092" y="365"/>
                    <a:pt x="1093" y="367"/>
                  </a:cubicBezTo>
                  <a:cubicBezTo>
                    <a:pt x="1093" y="367"/>
                    <a:pt x="1093" y="367"/>
                    <a:pt x="1092" y="364"/>
                  </a:cubicBezTo>
                  <a:close/>
                  <a:moveTo>
                    <a:pt x="1123" y="547"/>
                  </a:moveTo>
                  <a:cubicBezTo>
                    <a:pt x="1123" y="547"/>
                    <a:pt x="1123" y="547"/>
                    <a:pt x="1123" y="547"/>
                  </a:cubicBezTo>
                  <a:cubicBezTo>
                    <a:pt x="1122" y="549"/>
                    <a:pt x="1122" y="563"/>
                    <a:pt x="1122" y="565"/>
                  </a:cubicBezTo>
                  <a:cubicBezTo>
                    <a:pt x="1122" y="565"/>
                    <a:pt x="1123" y="565"/>
                    <a:pt x="1123" y="565"/>
                  </a:cubicBezTo>
                  <a:cubicBezTo>
                    <a:pt x="1123" y="564"/>
                    <a:pt x="1123" y="558"/>
                    <a:pt x="1123" y="557"/>
                  </a:cubicBezTo>
                  <a:cubicBezTo>
                    <a:pt x="1123" y="553"/>
                    <a:pt x="1123" y="548"/>
                    <a:pt x="1123" y="547"/>
                  </a:cubicBezTo>
                  <a:close/>
                  <a:moveTo>
                    <a:pt x="1121" y="494"/>
                  </a:moveTo>
                  <a:cubicBezTo>
                    <a:pt x="1120" y="490"/>
                    <a:pt x="1120" y="485"/>
                    <a:pt x="1119" y="481"/>
                  </a:cubicBezTo>
                  <a:cubicBezTo>
                    <a:pt x="1119" y="481"/>
                    <a:pt x="1119" y="481"/>
                    <a:pt x="1119" y="481"/>
                  </a:cubicBezTo>
                  <a:cubicBezTo>
                    <a:pt x="1119" y="480"/>
                    <a:pt x="1119" y="479"/>
                    <a:pt x="1119" y="479"/>
                  </a:cubicBezTo>
                  <a:cubicBezTo>
                    <a:pt x="1119" y="479"/>
                    <a:pt x="1119" y="479"/>
                    <a:pt x="1119" y="479"/>
                  </a:cubicBezTo>
                  <a:cubicBezTo>
                    <a:pt x="1119" y="480"/>
                    <a:pt x="1121" y="495"/>
                    <a:pt x="1121" y="496"/>
                  </a:cubicBezTo>
                  <a:cubicBezTo>
                    <a:pt x="1121" y="496"/>
                    <a:pt x="1121" y="496"/>
                    <a:pt x="1121" y="494"/>
                  </a:cubicBezTo>
                  <a:close/>
                  <a:moveTo>
                    <a:pt x="1099" y="385"/>
                  </a:moveTo>
                  <a:cubicBezTo>
                    <a:pt x="1098" y="381"/>
                    <a:pt x="1097" y="377"/>
                    <a:pt x="1095" y="373"/>
                  </a:cubicBezTo>
                  <a:cubicBezTo>
                    <a:pt x="1095" y="373"/>
                    <a:pt x="1095" y="373"/>
                    <a:pt x="1095" y="373"/>
                  </a:cubicBezTo>
                  <a:cubicBezTo>
                    <a:pt x="1095" y="372"/>
                    <a:pt x="1095" y="372"/>
                    <a:pt x="1095" y="371"/>
                  </a:cubicBezTo>
                  <a:cubicBezTo>
                    <a:pt x="1095" y="371"/>
                    <a:pt x="1095" y="371"/>
                    <a:pt x="1095" y="371"/>
                  </a:cubicBezTo>
                  <a:cubicBezTo>
                    <a:pt x="1095" y="373"/>
                    <a:pt x="1099" y="386"/>
                    <a:pt x="1100" y="388"/>
                  </a:cubicBezTo>
                  <a:cubicBezTo>
                    <a:pt x="1100" y="387"/>
                    <a:pt x="1100" y="387"/>
                    <a:pt x="1099" y="385"/>
                  </a:cubicBezTo>
                  <a:close/>
                  <a:moveTo>
                    <a:pt x="1071" y="388"/>
                  </a:moveTo>
                  <a:cubicBezTo>
                    <a:pt x="1072" y="388"/>
                    <a:pt x="1073" y="385"/>
                    <a:pt x="1071" y="380"/>
                  </a:cubicBezTo>
                  <a:cubicBezTo>
                    <a:pt x="1070" y="376"/>
                    <a:pt x="1068" y="371"/>
                    <a:pt x="1066" y="371"/>
                  </a:cubicBezTo>
                  <a:cubicBezTo>
                    <a:pt x="1063" y="373"/>
                    <a:pt x="1068" y="387"/>
                    <a:pt x="1071" y="388"/>
                  </a:cubicBezTo>
                  <a:close/>
                  <a:moveTo>
                    <a:pt x="1089" y="430"/>
                  </a:moveTo>
                  <a:cubicBezTo>
                    <a:pt x="1090" y="431"/>
                    <a:pt x="1090" y="427"/>
                    <a:pt x="1090" y="423"/>
                  </a:cubicBezTo>
                  <a:cubicBezTo>
                    <a:pt x="1089" y="418"/>
                    <a:pt x="1087" y="413"/>
                    <a:pt x="1085" y="413"/>
                  </a:cubicBezTo>
                  <a:cubicBezTo>
                    <a:pt x="1082" y="415"/>
                    <a:pt x="1086" y="429"/>
                    <a:pt x="1089" y="430"/>
                  </a:cubicBezTo>
                  <a:close/>
                  <a:moveTo>
                    <a:pt x="1081" y="430"/>
                  </a:moveTo>
                  <a:cubicBezTo>
                    <a:pt x="1083" y="431"/>
                    <a:pt x="1083" y="427"/>
                    <a:pt x="1083" y="423"/>
                  </a:cubicBezTo>
                  <a:cubicBezTo>
                    <a:pt x="1082" y="418"/>
                    <a:pt x="1080" y="413"/>
                    <a:pt x="1077" y="413"/>
                  </a:cubicBezTo>
                  <a:cubicBezTo>
                    <a:pt x="1074" y="415"/>
                    <a:pt x="1079" y="429"/>
                    <a:pt x="1081" y="430"/>
                  </a:cubicBezTo>
                  <a:close/>
                  <a:moveTo>
                    <a:pt x="1064" y="330"/>
                  </a:moveTo>
                  <a:cubicBezTo>
                    <a:pt x="1063" y="331"/>
                    <a:pt x="1064" y="335"/>
                    <a:pt x="1066" y="339"/>
                  </a:cubicBezTo>
                  <a:cubicBezTo>
                    <a:pt x="1067" y="343"/>
                    <a:pt x="1070" y="346"/>
                    <a:pt x="1071" y="346"/>
                  </a:cubicBezTo>
                  <a:cubicBezTo>
                    <a:pt x="1072" y="346"/>
                    <a:pt x="1071" y="343"/>
                    <a:pt x="1070" y="339"/>
                  </a:cubicBezTo>
                  <a:cubicBezTo>
                    <a:pt x="1068" y="335"/>
                    <a:pt x="1066" y="330"/>
                    <a:pt x="1064" y="330"/>
                  </a:cubicBezTo>
                  <a:close/>
                  <a:moveTo>
                    <a:pt x="1076" y="409"/>
                  </a:moveTo>
                  <a:cubicBezTo>
                    <a:pt x="1078" y="409"/>
                    <a:pt x="1078" y="406"/>
                    <a:pt x="1077" y="401"/>
                  </a:cubicBezTo>
                  <a:cubicBezTo>
                    <a:pt x="1076" y="397"/>
                    <a:pt x="1074" y="392"/>
                    <a:pt x="1072" y="392"/>
                  </a:cubicBezTo>
                  <a:cubicBezTo>
                    <a:pt x="1069" y="394"/>
                    <a:pt x="1074" y="408"/>
                    <a:pt x="1076" y="409"/>
                  </a:cubicBezTo>
                  <a:close/>
                  <a:moveTo>
                    <a:pt x="1084" y="409"/>
                  </a:moveTo>
                  <a:cubicBezTo>
                    <a:pt x="1085" y="409"/>
                    <a:pt x="1085" y="406"/>
                    <a:pt x="1084" y="401"/>
                  </a:cubicBezTo>
                  <a:cubicBezTo>
                    <a:pt x="1083" y="397"/>
                    <a:pt x="1081" y="392"/>
                    <a:pt x="1079" y="392"/>
                  </a:cubicBezTo>
                  <a:cubicBezTo>
                    <a:pt x="1076" y="394"/>
                    <a:pt x="1081" y="408"/>
                    <a:pt x="1084" y="409"/>
                  </a:cubicBezTo>
                  <a:close/>
                  <a:moveTo>
                    <a:pt x="1072" y="351"/>
                  </a:moveTo>
                  <a:cubicBezTo>
                    <a:pt x="1071" y="351"/>
                    <a:pt x="1072" y="355"/>
                    <a:pt x="1073" y="359"/>
                  </a:cubicBezTo>
                  <a:cubicBezTo>
                    <a:pt x="1075" y="363"/>
                    <a:pt x="1077" y="367"/>
                    <a:pt x="1078" y="367"/>
                  </a:cubicBezTo>
                  <a:cubicBezTo>
                    <a:pt x="1079" y="367"/>
                    <a:pt x="1079" y="364"/>
                    <a:pt x="1077" y="359"/>
                  </a:cubicBezTo>
                  <a:cubicBezTo>
                    <a:pt x="1076" y="356"/>
                    <a:pt x="1074" y="350"/>
                    <a:pt x="1072" y="351"/>
                  </a:cubicBezTo>
                  <a:close/>
                  <a:moveTo>
                    <a:pt x="1069" y="330"/>
                  </a:moveTo>
                  <a:cubicBezTo>
                    <a:pt x="1067" y="332"/>
                    <a:pt x="1074" y="346"/>
                    <a:pt x="1076" y="346"/>
                  </a:cubicBezTo>
                  <a:cubicBezTo>
                    <a:pt x="1077" y="346"/>
                    <a:pt x="1076" y="343"/>
                    <a:pt x="1074" y="339"/>
                  </a:cubicBezTo>
                  <a:cubicBezTo>
                    <a:pt x="1073" y="335"/>
                    <a:pt x="1070" y="330"/>
                    <a:pt x="1069" y="330"/>
                  </a:cubicBezTo>
                  <a:close/>
                  <a:moveTo>
                    <a:pt x="1077" y="351"/>
                  </a:moveTo>
                  <a:cubicBezTo>
                    <a:pt x="1075" y="353"/>
                    <a:pt x="1082" y="367"/>
                    <a:pt x="1083" y="367"/>
                  </a:cubicBezTo>
                  <a:cubicBezTo>
                    <a:pt x="1084" y="367"/>
                    <a:pt x="1084" y="364"/>
                    <a:pt x="1082" y="359"/>
                  </a:cubicBezTo>
                  <a:cubicBezTo>
                    <a:pt x="1081" y="356"/>
                    <a:pt x="1078" y="350"/>
                    <a:pt x="1077" y="351"/>
                  </a:cubicBezTo>
                  <a:close/>
                  <a:moveTo>
                    <a:pt x="1079" y="371"/>
                  </a:moveTo>
                  <a:cubicBezTo>
                    <a:pt x="1078" y="372"/>
                    <a:pt x="1079" y="375"/>
                    <a:pt x="1080" y="380"/>
                  </a:cubicBezTo>
                  <a:cubicBezTo>
                    <a:pt x="1081" y="384"/>
                    <a:pt x="1083" y="388"/>
                    <a:pt x="1085" y="388"/>
                  </a:cubicBezTo>
                  <a:cubicBezTo>
                    <a:pt x="1086" y="388"/>
                    <a:pt x="1085" y="384"/>
                    <a:pt x="1084" y="380"/>
                  </a:cubicBezTo>
                  <a:cubicBezTo>
                    <a:pt x="1083" y="376"/>
                    <a:pt x="1081" y="371"/>
                    <a:pt x="1079" y="371"/>
                  </a:cubicBezTo>
                  <a:close/>
                  <a:moveTo>
                    <a:pt x="1084" y="371"/>
                  </a:moveTo>
                  <a:cubicBezTo>
                    <a:pt x="1082" y="373"/>
                    <a:pt x="1088" y="388"/>
                    <a:pt x="1090" y="388"/>
                  </a:cubicBezTo>
                  <a:cubicBezTo>
                    <a:pt x="1091" y="388"/>
                    <a:pt x="1090" y="384"/>
                    <a:pt x="1089" y="380"/>
                  </a:cubicBezTo>
                  <a:cubicBezTo>
                    <a:pt x="1088" y="376"/>
                    <a:pt x="1086" y="371"/>
                    <a:pt x="1084" y="371"/>
                  </a:cubicBezTo>
                  <a:close/>
                  <a:moveTo>
                    <a:pt x="1040" y="346"/>
                  </a:moveTo>
                  <a:cubicBezTo>
                    <a:pt x="1042" y="347"/>
                    <a:pt x="1043" y="344"/>
                    <a:pt x="1041" y="339"/>
                  </a:cubicBezTo>
                  <a:cubicBezTo>
                    <a:pt x="1040" y="335"/>
                    <a:pt x="1037" y="330"/>
                    <a:pt x="1034" y="330"/>
                  </a:cubicBezTo>
                  <a:cubicBezTo>
                    <a:pt x="1031" y="332"/>
                    <a:pt x="1036" y="345"/>
                    <a:pt x="1040" y="346"/>
                  </a:cubicBezTo>
                  <a:close/>
                  <a:moveTo>
                    <a:pt x="1033" y="319"/>
                  </a:moveTo>
                  <a:cubicBezTo>
                    <a:pt x="1032" y="315"/>
                    <a:pt x="1029" y="310"/>
                    <a:pt x="1026" y="311"/>
                  </a:cubicBezTo>
                  <a:cubicBezTo>
                    <a:pt x="1023" y="312"/>
                    <a:pt x="1029" y="325"/>
                    <a:pt x="1032" y="326"/>
                  </a:cubicBezTo>
                  <a:cubicBezTo>
                    <a:pt x="1035" y="327"/>
                    <a:pt x="1035" y="324"/>
                    <a:pt x="1033" y="319"/>
                  </a:cubicBezTo>
                  <a:close/>
                  <a:moveTo>
                    <a:pt x="104" y="702"/>
                  </a:moveTo>
                  <a:cubicBezTo>
                    <a:pt x="99" y="704"/>
                    <a:pt x="102" y="716"/>
                    <a:pt x="107" y="718"/>
                  </a:cubicBezTo>
                  <a:cubicBezTo>
                    <a:pt x="110" y="720"/>
                    <a:pt x="112" y="717"/>
                    <a:pt x="111" y="711"/>
                  </a:cubicBezTo>
                  <a:cubicBezTo>
                    <a:pt x="110" y="707"/>
                    <a:pt x="107" y="702"/>
                    <a:pt x="104" y="702"/>
                  </a:cubicBezTo>
                  <a:close/>
                  <a:moveTo>
                    <a:pt x="1030" y="346"/>
                  </a:moveTo>
                  <a:cubicBezTo>
                    <a:pt x="1033" y="347"/>
                    <a:pt x="1033" y="344"/>
                    <a:pt x="1032" y="339"/>
                  </a:cubicBezTo>
                  <a:cubicBezTo>
                    <a:pt x="1031" y="335"/>
                    <a:pt x="1027" y="330"/>
                    <a:pt x="1025" y="330"/>
                  </a:cubicBezTo>
                  <a:cubicBezTo>
                    <a:pt x="1021" y="332"/>
                    <a:pt x="1026" y="345"/>
                    <a:pt x="1030" y="346"/>
                  </a:cubicBezTo>
                  <a:close/>
                  <a:moveTo>
                    <a:pt x="1012" y="326"/>
                  </a:moveTo>
                  <a:cubicBezTo>
                    <a:pt x="1014" y="327"/>
                    <a:pt x="1016" y="325"/>
                    <a:pt x="1014" y="320"/>
                  </a:cubicBezTo>
                  <a:cubicBezTo>
                    <a:pt x="1014" y="320"/>
                    <a:pt x="1014" y="319"/>
                    <a:pt x="1014" y="319"/>
                  </a:cubicBezTo>
                  <a:cubicBezTo>
                    <a:pt x="1013" y="315"/>
                    <a:pt x="1009" y="310"/>
                    <a:pt x="1006" y="311"/>
                  </a:cubicBezTo>
                  <a:cubicBezTo>
                    <a:pt x="1002" y="312"/>
                    <a:pt x="1007" y="324"/>
                    <a:pt x="1012" y="326"/>
                  </a:cubicBezTo>
                  <a:close/>
                  <a:moveTo>
                    <a:pt x="1023" y="326"/>
                  </a:moveTo>
                  <a:cubicBezTo>
                    <a:pt x="1025" y="327"/>
                    <a:pt x="1026" y="324"/>
                    <a:pt x="1024" y="319"/>
                  </a:cubicBezTo>
                  <a:cubicBezTo>
                    <a:pt x="1023" y="315"/>
                    <a:pt x="1019" y="310"/>
                    <a:pt x="1017" y="311"/>
                  </a:cubicBezTo>
                  <a:cubicBezTo>
                    <a:pt x="1013" y="312"/>
                    <a:pt x="1019" y="325"/>
                    <a:pt x="1023" y="326"/>
                  </a:cubicBezTo>
                  <a:close/>
                  <a:moveTo>
                    <a:pt x="1056" y="367"/>
                  </a:moveTo>
                  <a:cubicBezTo>
                    <a:pt x="1058" y="367"/>
                    <a:pt x="1058" y="364"/>
                    <a:pt x="1057" y="359"/>
                  </a:cubicBezTo>
                  <a:cubicBezTo>
                    <a:pt x="1056" y="356"/>
                    <a:pt x="1053" y="350"/>
                    <a:pt x="1051" y="351"/>
                  </a:cubicBezTo>
                  <a:cubicBezTo>
                    <a:pt x="1047" y="352"/>
                    <a:pt x="1053" y="366"/>
                    <a:pt x="1056" y="367"/>
                  </a:cubicBezTo>
                  <a:close/>
                  <a:moveTo>
                    <a:pt x="1065" y="359"/>
                  </a:moveTo>
                  <a:cubicBezTo>
                    <a:pt x="1064" y="356"/>
                    <a:pt x="1061" y="350"/>
                    <a:pt x="1059" y="351"/>
                  </a:cubicBezTo>
                  <a:cubicBezTo>
                    <a:pt x="1056" y="352"/>
                    <a:pt x="1062" y="366"/>
                    <a:pt x="1064" y="367"/>
                  </a:cubicBezTo>
                  <a:cubicBezTo>
                    <a:pt x="1066" y="367"/>
                    <a:pt x="1066" y="364"/>
                    <a:pt x="1065" y="359"/>
                  </a:cubicBezTo>
                  <a:close/>
                  <a:moveTo>
                    <a:pt x="1063" y="388"/>
                  </a:moveTo>
                  <a:cubicBezTo>
                    <a:pt x="1064" y="388"/>
                    <a:pt x="1065" y="385"/>
                    <a:pt x="1064" y="380"/>
                  </a:cubicBezTo>
                  <a:cubicBezTo>
                    <a:pt x="1063" y="376"/>
                    <a:pt x="1060" y="371"/>
                    <a:pt x="1058" y="371"/>
                  </a:cubicBezTo>
                  <a:cubicBezTo>
                    <a:pt x="1054" y="373"/>
                    <a:pt x="1060" y="387"/>
                    <a:pt x="1063" y="388"/>
                  </a:cubicBezTo>
                  <a:close/>
                  <a:moveTo>
                    <a:pt x="1047" y="367"/>
                  </a:moveTo>
                  <a:cubicBezTo>
                    <a:pt x="1049" y="368"/>
                    <a:pt x="1050" y="364"/>
                    <a:pt x="1048" y="359"/>
                  </a:cubicBezTo>
                  <a:cubicBezTo>
                    <a:pt x="1047" y="356"/>
                    <a:pt x="1044" y="350"/>
                    <a:pt x="1042" y="351"/>
                  </a:cubicBezTo>
                  <a:cubicBezTo>
                    <a:pt x="1038" y="352"/>
                    <a:pt x="1043" y="365"/>
                    <a:pt x="1047" y="367"/>
                  </a:cubicBezTo>
                  <a:close/>
                  <a:moveTo>
                    <a:pt x="1003" y="319"/>
                  </a:moveTo>
                  <a:cubicBezTo>
                    <a:pt x="1002" y="315"/>
                    <a:pt x="998" y="310"/>
                    <a:pt x="995" y="311"/>
                  </a:cubicBezTo>
                  <a:cubicBezTo>
                    <a:pt x="991" y="312"/>
                    <a:pt x="996" y="324"/>
                    <a:pt x="1000" y="326"/>
                  </a:cubicBezTo>
                  <a:cubicBezTo>
                    <a:pt x="1003" y="327"/>
                    <a:pt x="1005" y="324"/>
                    <a:pt x="1003" y="319"/>
                  </a:cubicBezTo>
                  <a:close/>
                  <a:moveTo>
                    <a:pt x="1050" y="339"/>
                  </a:moveTo>
                  <a:cubicBezTo>
                    <a:pt x="1048" y="335"/>
                    <a:pt x="1045" y="330"/>
                    <a:pt x="1043" y="330"/>
                  </a:cubicBezTo>
                  <a:cubicBezTo>
                    <a:pt x="1040" y="332"/>
                    <a:pt x="1046" y="346"/>
                    <a:pt x="1049" y="346"/>
                  </a:cubicBezTo>
                  <a:cubicBezTo>
                    <a:pt x="1051" y="347"/>
                    <a:pt x="1051" y="344"/>
                    <a:pt x="1050" y="339"/>
                  </a:cubicBezTo>
                  <a:close/>
                  <a:moveTo>
                    <a:pt x="1105" y="409"/>
                  </a:moveTo>
                  <a:cubicBezTo>
                    <a:pt x="1105" y="408"/>
                    <a:pt x="1104" y="402"/>
                    <a:pt x="1103" y="401"/>
                  </a:cubicBezTo>
                  <a:cubicBezTo>
                    <a:pt x="1102" y="398"/>
                    <a:pt x="1101" y="393"/>
                    <a:pt x="1100" y="392"/>
                  </a:cubicBezTo>
                  <a:cubicBezTo>
                    <a:pt x="1100" y="392"/>
                    <a:pt x="1100" y="392"/>
                    <a:pt x="1100" y="392"/>
                  </a:cubicBezTo>
                  <a:cubicBezTo>
                    <a:pt x="1100" y="394"/>
                    <a:pt x="1104" y="407"/>
                    <a:pt x="1105" y="409"/>
                  </a:cubicBezTo>
                  <a:cubicBezTo>
                    <a:pt x="1105" y="409"/>
                    <a:pt x="1105" y="409"/>
                    <a:pt x="1105" y="409"/>
                  </a:cubicBezTo>
                  <a:close/>
                  <a:moveTo>
                    <a:pt x="1120" y="610"/>
                  </a:moveTo>
                  <a:cubicBezTo>
                    <a:pt x="1120" y="610"/>
                    <a:pt x="1120" y="610"/>
                    <a:pt x="1121" y="608"/>
                  </a:cubicBezTo>
                  <a:cubicBezTo>
                    <a:pt x="1121" y="604"/>
                    <a:pt x="1122" y="599"/>
                    <a:pt x="1122" y="595"/>
                  </a:cubicBezTo>
                  <a:cubicBezTo>
                    <a:pt x="1122" y="595"/>
                    <a:pt x="1122" y="595"/>
                    <a:pt x="1122" y="595"/>
                  </a:cubicBezTo>
                  <a:cubicBezTo>
                    <a:pt x="1122" y="594"/>
                    <a:pt x="1122" y="593"/>
                    <a:pt x="1122" y="593"/>
                  </a:cubicBezTo>
                  <a:cubicBezTo>
                    <a:pt x="1122" y="593"/>
                    <a:pt x="1122" y="593"/>
                    <a:pt x="1122" y="593"/>
                  </a:cubicBezTo>
                  <a:cubicBezTo>
                    <a:pt x="1122" y="594"/>
                    <a:pt x="1120" y="609"/>
                    <a:pt x="1120" y="610"/>
                  </a:cubicBezTo>
                  <a:close/>
                  <a:moveTo>
                    <a:pt x="22" y="392"/>
                  </a:moveTo>
                  <a:cubicBezTo>
                    <a:pt x="22" y="392"/>
                    <a:pt x="22" y="392"/>
                    <a:pt x="22" y="392"/>
                  </a:cubicBezTo>
                  <a:cubicBezTo>
                    <a:pt x="22" y="394"/>
                    <a:pt x="18" y="407"/>
                    <a:pt x="18" y="409"/>
                  </a:cubicBezTo>
                  <a:cubicBezTo>
                    <a:pt x="18" y="408"/>
                    <a:pt x="19" y="404"/>
                    <a:pt x="20" y="401"/>
                  </a:cubicBezTo>
                  <a:cubicBezTo>
                    <a:pt x="21" y="398"/>
                    <a:pt x="22" y="393"/>
                    <a:pt x="22" y="392"/>
                  </a:cubicBezTo>
                  <a:close/>
                  <a:moveTo>
                    <a:pt x="1080" y="474"/>
                  </a:moveTo>
                  <a:cubicBezTo>
                    <a:pt x="1082" y="475"/>
                    <a:pt x="1083" y="471"/>
                    <a:pt x="1082" y="466"/>
                  </a:cubicBezTo>
                  <a:cubicBezTo>
                    <a:pt x="1082" y="462"/>
                    <a:pt x="1080" y="456"/>
                    <a:pt x="1078" y="457"/>
                  </a:cubicBezTo>
                  <a:cubicBezTo>
                    <a:pt x="1073" y="459"/>
                    <a:pt x="1077" y="473"/>
                    <a:pt x="1080" y="474"/>
                  </a:cubicBezTo>
                  <a:close/>
                  <a:moveTo>
                    <a:pt x="1124" y="549"/>
                  </a:moveTo>
                  <a:cubicBezTo>
                    <a:pt x="1124" y="548"/>
                    <a:pt x="1124" y="548"/>
                    <a:pt x="1124" y="547"/>
                  </a:cubicBezTo>
                  <a:cubicBezTo>
                    <a:pt x="1124" y="547"/>
                    <a:pt x="1124" y="547"/>
                    <a:pt x="1124" y="547"/>
                  </a:cubicBezTo>
                  <a:cubicBezTo>
                    <a:pt x="1123" y="549"/>
                    <a:pt x="1123" y="563"/>
                    <a:pt x="1123" y="565"/>
                  </a:cubicBezTo>
                  <a:cubicBezTo>
                    <a:pt x="1123" y="565"/>
                    <a:pt x="1123" y="565"/>
                    <a:pt x="1124" y="562"/>
                  </a:cubicBezTo>
                  <a:cubicBezTo>
                    <a:pt x="1124" y="558"/>
                    <a:pt x="1124" y="554"/>
                    <a:pt x="1124" y="550"/>
                  </a:cubicBezTo>
                  <a:cubicBezTo>
                    <a:pt x="1124" y="550"/>
                    <a:pt x="1124" y="550"/>
                    <a:pt x="1124" y="549"/>
                  </a:cubicBezTo>
                  <a:close/>
                  <a:moveTo>
                    <a:pt x="19" y="409"/>
                  </a:moveTo>
                  <a:cubicBezTo>
                    <a:pt x="19" y="409"/>
                    <a:pt x="19" y="409"/>
                    <a:pt x="19" y="409"/>
                  </a:cubicBezTo>
                  <a:cubicBezTo>
                    <a:pt x="20" y="408"/>
                    <a:pt x="21" y="402"/>
                    <a:pt x="22" y="401"/>
                  </a:cubicBezTo>
                  <a:cubicBezTo>
                    <a:pt x="23" y="398"/>
                    <a:pt x="24" y="393"/>
                    <a:pt x="24" y="392"/>
                  </a:cubicBezTo>
                  <a:cubicBezTo>
                    <a:pt x="24" y="392"/>
                    <a:pt x="24" y="392"/>
                    <a:pt x="24" y="392"/>
                  </a:cubicBezTo>
                  <a:cubicBezTo>
                    <a:pt x="22" y="394"/>
                    <a:pt x="19" y="407"/>
                    <a:pt x="19" y="409"/>
                  </a:cubicBezTo>
                  <a:close/>
                  <a:moveTo>
                    <a:pt x="1122" y="588"/>
                  </a:moveTo>
                  <a:cubicBezTo>
                    <a:pt x="1122" y="588"/>
                    <a:pt x="1122" y="588"/>
                    <a:pt x="1123" y="585"/>
                  </a:cubicBezTo>
                  <a:cubicBezTo>
                    <a:pt x="1123" y="581"/>
                    <a:pt x="1123" y="577"/>
                    <a:pt x="1123" y="572"/>
                  </a:cubicBezTo>
                  <a:cubicBezTo>
                    <a:pt x="1123" y="572"/>
                    <a:pt x="1123" y="572"/>
                    <a:pt x="1123" y="572"/>
                  </a:cubicBezTo>
                  <a:cubicBezTo>
                    <a:pt x="1123" y="571"/>
                    <a:pt x="1123" y="570"/>
                    <a:pt x="1123" y="570"/>
                  </a:cubicBezTo>
                  <a:cubicBezTo>
                    <a:pt x="1123" y="570"/>
                    <a:pt x="1123" y="570"/>
                    <a:pt x="1123" y="570"/>
                  </a:cubicBezTo>
                  <a:cubicBezTo>
                    <a:pt x="1123" y="571"/>
                    <a:pt x="1122" y="586"/>
                    <a:pt x="1122" y="588"/>
                  </a:cubicBezTo>
                  <a:close/>
                  <a:moveTo>
                    <a:pt x="54" y="676"/>
                  </a:moveTo>
                  <a:cubicBezTo>
                    <a:pt x="56" y="677"/>
                    <a:pt x="57" y="674"/>
                    <a:pt x="56" y="669"/>
                  </a:cubicBezTo>
                  <a:cubicBezTo>
                    <a:pt x="56" y="664"/>
                    <a:pt x="53" y="659"/>
                    <a:pt x="51" y="659"/>
                  </a:cubicBezTo>
                  <a:cubicBezTo>
                    <a:pt x="47" y="661"/>
                    <a:pt x="50" y="675"/>
                    <a:pt x="54" y="676"/>
                  </a:cubicBezTo>
                  <a:close/>
                  <a:moveTo>
                    <a:pt x="52" y="647"/>
                  </a:moveTo>
                  <a:cubicBezTo>
                    <a:pt x="52" y="643"/>
                    <a:pt x="50" y="637"/>
                    <a:pt x="47" y="637"/>
                  </a:cubicBezTo>
                  <a:cubicBezTo>
                    <a:pt x="43" y="639"/>
                    <a:pt x="47" y="654"/>
                    <a:pt x="50" y="655"/>
                  </a:cubicBezTo>
                  <a:cubicBezTo>
                    <a:pt x="52" y="655"/>
                    <a:pt x="53" y="652"/>
                    <a:pt x="52" y="647"/>
                  </a:cubicBezTo>
                  <a:close/>
                  <a:moveTo>
                    <a:pt x="59" y="698"/>
                  </a:moveTo>
                  <a:cubicBezTo>
                    <a:pt x="61" y="699"/>
                    <a:pt x="62" y="695"/>
                    <a:pt x="61" y="690"/>
                  </a:cubicBezTo>
                  <a:cubicBezTo>
                    <a:pt x="60" y="686"/>
                    <a:pt x="58" y="681"/>
                    <a:pt x="55" y="681"/>
                  </a:cubicBezTo>
                  <a:cubicBezTo>
                    <a:pt x="51" y="683"/>
                    <a:pt x="55" y="696"/>
                    <a:pt x="59" y="698"/>
                  </a:cubicBezTo>
                  <a:close/>
                  <a:moveTo>
                    <a:pt x="1118" y="633"/>
                  </a:moveTo>
                  <a:cubicBezTo>
                    <a:pt x="1118" y="632"/>
                    <a:pt x="1118" y="632"/>
                    <a:pt x="1118" y="630"/>
                  </a:cubicBezTo>
                  <a:cubicBezTo>
                    <a:pt x="1119" y="626"/>
                    <a:pt x="1119" y="622"/>
                    <a:pt x="1120" y="618"/>
                  </a:cubicBezTo>
                  <a:cubicBezTo>
                    <a:pt x="1120" y="617"/>
                    <a:pt x="1120" y="617"/>
                    <a:pt x="1120" y="617"/>
                  </a:cubicBezTo>
                  <a:cubicBezTo>
                    <a:pt x="1120" y="616"/>
                    <a:pt x="1120" y="616"/>
                    <a:pt x="1120" y="615"/>
                  </a:cubicBezTo>
                  <a:cubicBezTo>
                    <a:pt x="1120" y="615"/>
                    <a:pt x="1120" y="615"/>
                    <a:pt x="1120" y="615"/>
                  </a:cubicBezTo>
                  <a:cubicBezTo>
                    <a:pt x="1120" y="617"/>
                    <a:pt x="1118" y="631"/>
                    <a:pt x="1118" y="633"/>
                  </a:cubicBezTo>
                  <a:close/>
                  <a:moveTo>
                    <a:pt x="1086" y="392"/>
                  </a:moveTo>
                  <a:cubicBezTo>
                    <a:pt x="1085" y="393"/>
                    <a:pt x="1085" y="396"/>
                    <a:pt x="1086" y="401"/>
                  </a:cubicBezTo>
                  <a:cubicBezTo>
                    <a:pt x="1087" y="405"/>
                    <a:pt x="1089" y="409"/>
                    <a:pt x="1090" y="409"/>
                  </a:cubicBezTo>
                  <a:cubicBezTo>
                    <a:pt x="1091" y="409"/>
                    <a:pt x="1091" y="405"/>
                    <a:pt x="1090" y="401"/>
                  </a:cubicBezTo>
                  <a:cubicBezTo>
                    <a:pt x="1089" y="397"/>
                    <a:pt x="1087" y="392"/>
                    <a:pt x="1086" y="392"/>
                  </a:cubicBezTo>
                  <a:close/>
                  <a:moveTo>
                    <a:pt x="1101" y="430"/>
                  </a:moveTo>
                  <a:cubicBezTo>
                    <a:pt x="1101" y="430"/>
                    <a:pt x="1101" y="427"/>
                    <a:pt x="1100" y="423"/>
                  </a:cubicBezTo>
                  <a:cubicBezTo>
                    <a:pt x="1100" y="418"/>
                    <a:pt x="1098" y="413"/>
                    <a:pt x="1096" y="413"/>
                  </a:cubicBezTo>
                  <a:cubicBezTo>
                    <a:pt x="1094" y="415"/>
                    <a:pt x="1099" y="430"/>
                    <a:pt x="1101" y="430"/>
                  </a:cubicBezTo>
                  <a:close/>
                  <a:moveTo>
                    <a:pt x="1091" y="392"/>
                  </a:moveTo>
                  <a:cubicBezTo>
                    <a:pt x="1089" y="394"/>
                    <a:pt x="1094" y="409"/>
                    <a:pt x="1096" y="409"/>
                  </a:cubicBezTo>
                  <a:cubicBezTo>
                    <a:pt x="1096" y="409"/>
                    <a:pt x="1096" y="405"/>
                    <a:pt x="1095" y="401"/>
                  </a:cubicBezTo>
                  <a:cubicBezTo>
                    <a:pt x="1094" y="397"/>
                    <a:pt x="1092" y="392"/>
                    <a:pt x="1091" y="392"/>
                  </a:cubicBezTo>
                  <a:close/>
                  <a:moveTo>
                    <a:pt x="7" y="570"/>
                  </a:moveTo>
                  <a:cubicBezTo>
                    <a:pt x="5" y="572"/>
                    <a:pt x="7" y="588"/>
                    <a:pt x="9" y="588"/>
                  </a:cubicBezTo>
                  <a:cubicBezTo>
                    <a:pt x="9" y="588"/>
                    <a:pt x="10" y="584"/>
                    <a:pt x="10" y="580"/>
                  </a:cubicBezTo>
                  <a:cubicBezTo>
                    <a:pt x="9" y="575"/>
                    <a:pt x="9" y="569"/>
                    <a:pt x="7" y="570"/>
                  </a:cubicBezTo>
                  <a:close/>
                  <a:moveTo>
                    <a:pt x="41" y="655"/>
                  </a:moveTo>
                  <a:cubicBezTo>
                    <a:pt x="43" y="655"/>
                    <a:pt x="44" y="652"/>
                    <a:pt x="43" y="647"/>
                  </a:cubicBezTo>
                  <a:cubicBezTo>
                    <a:pt x="43" y="643"/>
                    <a:pt x="41" y="637"/>
                    <a:pt x="39" y="637"/>
                  </a:cubicBezTo>
                  <a:cubicBezTo>
                    <a:pt x="35" y="639"/>
                    <a:pt x="39" y="654"/>
                    <a:pt x="41" y="655"/>
                  </a:cubicBezTo>
                  <a:close/>
                  <a:moveTo>
                    <a:pt x="1106" y="435"/>
                  </a:moveTo>
                  <a:cubicBezTo>
                    <a:pt x="1104" y="437"/>
                    <a:pt x="1108" y="452"/>
                    <a:pt x="1109" y="452"/>
                  </a:cubicBezTo>
                  <a:cubicBezTo>
                    <a:pt x="1110" y="452"/>
                    <a:pt x="1110" y="449"/>
                    <a:pt x="1109" y="444"/>
                  </a:cubicBezTo>
                  <a:cubicBezTo>
                    <a:pt x="1108" y="440"/>
                    <a:pt x="1107" y="434"/>
                    <a:pt x="1106" y="435"/>
                  </a:cubicBezTo>
                  <a:close/>
                  <a:moveTo>
                    <a:pt x="17" y="413"/>
                  </a:moveTo>
                  <a:cubicBezTo>
                    <a:pt x="17" y="413"/>
                    <a:pt x="17" y="413"/>
                    <a:pt x="17" y="413"/>
                  </a:cubicBezTo>
                  <a:cubicBezTo>
                    <a:pt x="16" y="415"/>
                    <a:pt x="13" y="429"/>
                    <a:pt x="13" y="430"/>
                  </a:cubicBezTo>
                  <a:cubicBezTo>
                    <a:pt x="13" y="430"/>
                    <a:pt x="14" y="426"/>
                    <a:pt x="15" y="423"/>
                  </a:cubicBezTo>
                  <a:cubicBezTo>
                    <a:pt x="15" y="419"/>
                    <a:pt x="17" y="414"/>
                    <a:pt x="17" y="413"/>
                  </a:cubicBezTo>
                  <a:close/>
                  <a:moveTo>
                    <a:pt x="39" y="380"/>
                  </a:moveTo>
                  <a:cubicBezTo>
                    <a:pt x="41" y="376"/>
                    <a:pt x="42" y="371"/>
                    <a:pt x="40" y="371"/>
                  </a:cubicBezTo>
                  <a:cubicBezTo>
                    <a:pt x="37" y="373"/>
                    <a:pt x="34" y="387"/>
                    <a:pt x="35" y="388"/>
                  </a:cubicBezTo>
                  <a:cubicBezTo>
                    <a:pt x="36" y="388"/>
                    <a:pt x="38" y="385"/>
                    <a:pt x="39" y="380"/>
                  </a:cubicBezTo>
                  <a:close/>
                  <a:moveTo>
                    <a:pt x="1072" y="496"/>
                  </a:moveTo>
                  <a:cubicBezTo>
                    <a:pt x="1075" y="497"/>
                    <a:pt x="1076" y="494"/>
                    <a:pt x="1076" y="489"/>
                  </a:cubicBezTo>
                  <a:cubicBezTo>
                    <a:pt x="1076" y="484"/>
                    <a:pt x="1074" y="478"/>
                    <a:pt x="1071" y="479"/>
                  </a:cubicBezTo>
                  <a:cubicBezTo>
                    <a:pt x="1067" y="481"/>
                    <a:pt x="1069" y="495"/>
                    <a:pt x="1072" y="496"/>
                  </a:cubicBezTo>
                  <a:close/>
                  <a:moveTo>
                    <a:pt x="1124" y="539"/>
                  </a:moveTo>
                  <a:cubicBezTo>
                    <a:pt x="1123" y="535"/>
                    <a:pt x="1123" y="531"/>
                    <a:pt x="1123" y="526"/>
                  </a:cubicBezTo>
                  <a:cubicBezTo>
                    <a:pt x="1123" y="526"/>
                    <a:pt x="1123" y="526"/>
                    <a:pt x="1123" y="526"/>
                  </a:cubicBezTo>
                  <a:cubicBezTo>
                    <a:pt x="1123" y="525"/>
                    <a:pt x="1123" y="525"/>
                    <a:pt x="1123" y="524"/>
                  </a:cubicBezTo>
                  <a:cubicBezTo>
                    <a:pt x="1123" y="524"/>
                    <a:pt x="1123" y="524"/>
                    <a:pt x="1123" y="524"/>
                  </a:cubicBezTo>
                  <a:cubicBezTo>
                    <a:pt x="1123" y="526"/>
                    <a:pt x="1123" y="540"/>
                    <a:pt x="1124" y="542"/>
                  </a:cubicBezTo>
                  <a:cubicBezTo>
                    <a:pt x="1124" y="542"/>
                    <a:pt x="1124" y="542"/>
                    <a:pt x="1124" y="539"/>
                  </a:cubicBezTo>
                  <a:close/>
                  <a:moveTo>
                    <a:pt x="1064" y="565"/>
                  </a:moveTo>
                  <a:cubicBezTo>
                    <a:pt x="1066" y="566"/>
                    <a:pt x="1068" y="562"/>
                    <a:pt x="1069" y="557"/>
                  </a:cubicBezTo>
                  <a:cubicBezTo>
                    <a:pt x="1069" y="552"/>
                    <a:pt x="1068" y="546"/>
                    <a:pt x="1065" y="547"/>
                  </a:cubicBezTo>
                  <a:cubicBezTo>
                    <a:pt x="1060" y="549"/>
                    <a:pt x="1060" y="563"/>
                    <a:pt x="1064" y="565"/>
                  </a:cubicBezTo>
                  <a:close/>
                  <a:moveTo>
                    <a:pt x="1064" y="542"/>
                  </a:moveTo>
                  <a:cubicBezTo>
                    <a:pt x="1066" y="543"/>
                    <a:pt x="1068" y="539"/>
                    <a:pt x="1068" y="534"/>
                  </a:cubicBezTo>
                  <a:cubicBezTo>
                    <a:pt x="1069" y="529"/>
                    <a:pt x="1067" y="524"/>
                    <a:pt x="1064" y="524"/>
                  </a:cubicBezTo>
                  <a:cubicBezTo>
                    <a:pt x="1059" y="526"/>
                    <a:pt x="1060" y="540"/>
                    <a:pt x="1064" y="542"/>
                  </a:cubicBezTo>
                  <a:close/>
                  <a:moveTo>
                    <a:pt x="1075" y="542"/>
                  </a:moveTo>
                  <a:cubicBezTo>
                    <a:pt x="1077" y="543"/>
                    <a:pt x="1079" y="539"/>
                    <a:pt x="1079" y="534"/>
                  </a:cubicBezTo>
                  <a:cubicBezTo>
                    <a:pt x="1079" y="529"/>
                    <a:pt x="1077" y="524"/>
                    <a:pt x="1075" y="524"/>
                  </a:cubicBezTo>
                  <a:cubicBezTo>
                    <a:pt x="1070" y="526"/>
                    <a:pt x="1071" y="540"/>
                    <a:pt x="1075" y="542"/>
                  </a:cubicBezTo>
                  <a:close/>
                  <a:moveTo>
                    <a:pt x="1073" y="501"/>
                  </a:moveTo>
                  <a:cubicBezTo>
                    <a:pt x="1069" y="503"/>
                    <a:pt x="1070" y="517"/>
                    <a:pt x="1074" y="519"/>
                  </a:cubicBezTo>
                  <a:cubicBezTo>
                    <a:pt x="1076" y="520"/>
                    <a:pt x="1078" y="516"/>
                    <a:pt x="1078" y="511"/>
                  </a:cubicBezTo>
                  <a:cubicBezTo>
                    <a:pt x="1078" y="507"/>
                    <a:pt x="1076" y="501"/>
                    <a:pt x="1073" y="501"/>
                  </a:cubicBezTo>
                  <a:close/>
                  <a:moveTo>
                    <a:pt x="1112" y="444"/>
                  </a:moveTo>
                  <a:cubicBezTo>
                    <a:pt x="1111" y="441"/>
                    <a:pt x="1110" y="435"/>
                    <a:pt x="1109" y="435"/>
                  </a:cubicBezTo>
                  <a:cubicBezTo>
                    <a:pt x="1109" y="435"/>
                    <a:pt x="1109" y="435"/>
                    <a:pt x="1109" y="435"/>
                  </a:cubicBezTo>
                  <a:cubicBezTo>
                    <a:pt x="1108" y="436"/>
                    <a:pt x="1111" y="452"/>
                    <a:pt x="1112" y="452"/>
                  </a:cubicBezTo>
                  <a:cubicBezTo>
                    <a:pt x="1113" y="452"/>
                    <a:pt x="1112" y="447"/>
                    <a:pt x="1112" y="444"/>
                  </a:cubicBezTo>
                  <a:close/>
                  <a:moveTo>
                    <a:pt x="135" y="723"/>
                  </a:moveTo>
                  <a:cubicBezTo>
                    <a:pt x="130" y="725"/>
                    <a:pt x="133" y="736"/>
                    <a:pt x="138" y="739"/>
                  </a:cubicBezTo>
                  <a:cubicBezTo>
                    <a:pt x="142" y="741"/>
                    <a:pt x="144" y="738"/>
                    <a:pt x="143" y="732"/>
                  </a:cubicBezTo>
                  <a:cubicBezTo>
                    <a:pt x="142" y="728"/>
                    <a:pt x="139" y="723"/>
                    <a:pt x="135" y="723"/>
                  </a:cubicBezTo>
                  <a:close/>
                  <a:moveTo>
                    <a:pt x="20" y="430"/>
                  </a:moveTo>
                  <a:cubicBezTo>
                    <a:pt x="21" y="430"/>
                    <a:pt x="22" y="427"/>
                    <a:pt x="23" y="423"/>
                  </a:cubicBezTo>
                  <a:cubicBezTo>
                    <a:pt x="24" y="418"/>
                    <a:pt x="25" y="413"/>
                    <a:pt x="24" y="413"/>
                  </a:cubicBezTo>
                  <a:cubicBezTo>
                    <a:pt x="21" y="415"/>
                    <a:pt x="19" y="430"/>
                    <a:pt x="20" y="430"/>
                  </a:cubicBezTo>
                  <a:close/>
                  <a:moveTo>
                    <a:pt x="18" y="413"/>
                  </a:moveTo>
                  <a:cubicBezTo>
                    <a:pt x="18" y="413"/>
                    <a:pt x="18" y="413"/>
                    <a:pt x="18" y="413"/>
                  </a:cubicBezTo>
                  <a:cubicBezTo>
                    <a:pt x="17" y="415"/>
                    <a:pt x="13" y="429"/>
                    <a:pt x="14" y="430"/>
                  </a:cubicBezTo>
                  <a:cubicBezTo>
                    <a:pt x="14" y="430"/>
                    <a:pt x="14" y="430"/>
                    <a:pt x="14" y="430"/>
                  </a:cubicBezTo>
                  <a:cubicBezTo>
                    <a:pt x="15" y="429"/>
                    <a:pt x="16" y="424"/>
                    <a:pt x="16" y="423"/>
                  </a:cubicBezTo>
                  <a:cubicBezTo>
                    <a:pt x="17" y="419"/>
                    <a:pt x="18" y="414"/>
                    <a:pt x="18" y="413"/>
                  </a:cubicBezTo>
                  <a:close/>
                  <a:moveTo>
                    <a:pt x="29" y="371"/>
                  </a:moveTo>
                  <a:cubicBezTo>
                    <a:pt x="29" y="371"/>
                    <a:pt x="29" y="371"/>
                    <a:pt x="29" y="371"/>
                  </a:cubicBezTo>
                  <a:cubicBezTo>
                    <a:pt x="28" y="373"/>
                    <a:pt x="24" y="386"/>
                    <a:pt x="24" y="388"/>
                  </a:cubicBezTo>
                  <a:cubicBezTo>
                    <a:pt x="24" y="387"/>
                    <a:pt x="25" y="383"/>
                    <a:pt x="26" y="380"/>
                  </a:cubicBezTo>
                  <a:cubicBezTo>
                    <a:pt x="27" y="377"/>
                    <a:pt x="29" y="372"/>
                    <a:pt x="29" y="371"/>
                  </a:cubicBezTo>
                  <a:close/>
                  <a:moveTo>
                    <a:pt x="44" y="330"/>
                  </a:moveTo>
                  <a:cubicBezTo>
                    <a:pt x="44" y="330"/>
                    <a:pt x="44" y="330"/>
                    <a:pt x="44" y="330"/>
                  </a:cubicBezTo>
                  <a:cubicBezTo>
                    <a:pt x="43" y="332"/>
                    <a:pt x="38" y="345"/>
                    <a:pt x="38" y="346"/>
                  </a:cubicBezTo>
                  <a:cubicBezTo>
                    <a:pt x="38" y="346"/>
                    <a:pt x="40" y="342"/>
                    <a:pt x="41" y="339"/>
                  </a:cubicBezTo>
                  <a:cubicBezTo>
                    <a:pt x="42" y="337"/>
                    <a:pt x="44" y="331"/>
                    <a:pt x="44" y="330"/>
                  </a:cubicBezTo>
                  <a:close/>
                  <a:moveTo>
                    <a:pt x="26" y="392"/>
                  </a:moveTo>
                  <a:cubicBezTo>
                    <a:pt x="26" y="392"/>
                    <a:pt x="26" y="392"/>
                    <a:pt x="26" y="392"/>
                  </a:cubicBezTo>
                  <a:cubicBezTo>
                    <a:pt x="24" y="394"/>
                    <a:pt x="20" y="408"/>
                    <a:pt x="21" y="409"/>
                  </a:cubicBezTo>
                  <a:cubicBezTo>
                    <a:pt x="22" y="408"/>
                    <a:pt x="24" y="404"/>
                    <a:pt x="25" y="401"/>
                  </a:cubicBezTo>
                  <a:cubicBezTo>
                    <a:pt x="26" y="398"/>
                    <a:pt x="27" y="392"/>
                    <a:pt x="26" y="392"/>
                  </a:cubicBezTo>
                  <a:close/>
                  <a:moveTo>
                    <a:pt x="1105" y="501"/>
                  </a:moveTo>
                  <a:cubicBezTo>
                    <a:pt x="1104" y="502"/>
                    <a:pt x="1104" y="506"/>
                    <a:pt x="1104" y="511"/>
                  </a:cubicBezTo>
                  <a:cubicBezTo>
                    <a:pt x="1105" y="514"/>
                    <a:pt x="1106" y="519"/>
                    <a:pt x="1107" y="519"/>
                  </a:cubicBezTo>
                  <a:cubicBezTo>
                    <a:pt x="1108" y="519"/>
                    <a:pt x="1109" y="516"/>
                    <a:pt x="1108" y="511"/>
                  </a:cubicBezTo>
                  <a:cubicBezTo>
                    <a:pt x="1108" y="507"/>
                    <a:pt x="1107" y="501"/>
                    <a:pt x="1105" y="501"/>
                  </a:cubicBezTo>
                  <a:close/>
                  <a:moveTo>
                    <a:pt x="25" y="409"/>
                  </a:moveTo>
                  <a:cubicBezTo>
                    <a:pt x="26" y="409"/>
                    <a:pt x="27" y="405"/>
                    <a:pt x="28" y="401"/>
                  </a:cubicBezTo>
                  <a:cubicBezTo>
                    <a:pt x="30" y="397"/>
                    <a:pt x="31" y="392"/>
                    <a:pt x="29" y="392"/>
                  </a:cubicBezTo>
                  <a:cubicBezTo>
                    <a:pt x="26" y="394"/>
                    <a:pt x="24" y="409"/>
                    <a:pt x="25" y="409"/>
                  </a:cubicBezTo>
                  <a:close/>
                  <a:moveTo>
                    <a:pt x="133" y="718"/>
                  </a:moveTo>
                  <a:cubicBezTo>
                    <a:pt x="136" y="720"/>
                    <a:pt x="139" y="717"/>
                    <a:pt x="138" y="711"/>
                  </a:cubicBezTo>
                  <a:cubicBezTo>
                    <a:pt x="137" y="707"/>
                    <a:pt x="134" y="702"/>
                    <a:pt x="130" y="702"/>
                  </a:cubicBezTo>
                  <a:cubicBezTo>
                    <a:pt x="125" y="704"/>
                    <a:pt x="128" y="715"/>
                    <a:pt x="133" y="718"/>
                  </a:cubicBezTo>
                  <a:close/>
                  <a:moveTo>
                    <a:pt x="120" y="718"/>
                  </a:moveTo>
                  <a:cubicBezTo>
                    <a:pt x="123" y="720"/>
                    <a:pt x="125" y="717"/>
                    <a:pt x="124" y="711"/>
                  </a:cubicBezTo>
                  <a:cubicBezTo>
                    <a:pt x="123" y="707"/>
                    <a:pt x="120" y="702"/>
                    <a:pt x="116" y="702"/>
                  </a:cubicBezTo>
                  <a:cubicBezTo>
                    <a:pt x="111" y="704"/>
                    <a:pt x="115" y="716"/>
                    <a:pt x="120" y="718"/>
                  </a:cubicBezTo>
                  <a:close/>
                  <a:moveTo>
                    <a:pt x="47" y="326"/>
                  </a:moveTo>
                  <a:cubicBezTo>
                    <a:pt x="48" y="325"/>
                    <a:pt x="51" y="320"/>
                    <a:pt x="51" y="319"/>
                  </a:cubicBezTo>
                  <a:cubicBezTo>
                    <a:pt x="52" y="317"/>
                    <a:pt x="55" y="312"/>
                    <a:pt x="54" y="311"/>
                  </a:cubicBezTo>
                  <a:cubicBezTo>
                    <a:pt x="54" y="311"/>
                    <a:pt x="54" y="311"/>
                    <a:pt x="54" y="311"/>
                  </a:cubicBezTo>
                  <a:cubicBezTo>
                    <a:pt x="53" y="312"/>
                    <a:pt x="47" y="325"/>
                    <a:pt x="47" y="326"/>
                  </a:cubicBezTo>
                  <a:cubicBezTo>
                    <a:pt x="47" y="326"/>
                    <a:pt x="47" y="326"/>
                    <a:pt x="47" y="326"/>
                  </a:cubicBezTo>
                  <a:close/>
                  <a:moveTo>
                    <a:pt x="53" y="311"/>
                  </a:moveTo>
                  <a:cubicBezTo>
                    <a:pt x="53" y="311"/>
                    <a:pt x="53" y="311"/>
                    <a:pt x="53" y="311"/>
                  </a:cubicBezTo>
                  <a:cubicBezTo>
                    <a:pt x="52" y="312"/>
                    <a:pt x="47" y="325"/>
                    <a:pt x="46" y="326"/>
                  </a:cubicBezTo>
                  <a:cubicBezTo>
                    <a:pt x="46" y="326"/>
                    <a:pt x="48" y="322"/>
                    <a:pt x="50" y="319"/>
                  </a:cubicBezTo>
                  <a:cubicBezTo>
                    <a:pt x="51" y="317"/>
                    <a:pt x="53" y="312"/>
                    <a:pt x="53" y="311"/>
                  </a:cubicBezTo>
                  <a:close/>
                  <a:moveTo>
                    <a:pt x="39" y="346"/>
                  </a:moveTo>
                  <a:cubicBezTo>
                    <a:pt x="40" y="345"/>
                    <a:pt x="42" y="340"/>
                    <a:pt x="43" y="339"/>
                  </a:cubicBezTo>
                  <a:cubicBezTo>
                    <a:pt x="44" y="337"/>
                    <a:pt x="46" y="331"/>
                    <a:pt x="46" y="330"/>
                  </a:cubicBezTo>
                  <a:cubicBezTo>
                    <a:pt x="46" y="330"/>
                    <a:pt x="46" y="330"/>
                    <a:pt x="46" y="330"/>
                  </a:cubicBezTo>
                  <a:cubicBezTo>
                    <a:pt x="44" y="332"/>
                    <a:pt x="39" y="345"/>
                    <a:pt x="39" y="346"/>
                  </a:cubicBezTo>
                  <a:cubicBezTo>
                    <a:pt x="39" y="346"/>
                    <a:pt x="39" y="346"/>
                    <a:pt x="39" y="346"/>
                  </a:cubicBezTo>
                  <a:close/>
                  <a:moveTo>
                    <a:pt x="19" y="423"/>
                  </a:moveTo>
                  <a:cubicBezTo>
                    <a:pt x="20" y="419"/>
                    <a:pt x="21" y="414"/>
                    <a:pt x="20" y="413"/>
                  </a:cubicBezTo>
                  <a:cubicBezTo>
                    <a:pt x="20" y="413"/>
                    <a:pt x="20" y="413"/>
                    <a:pt x="20" y="413"/>
                  </a:cubicBezTo>
                  <a:cubicBezTo>
                    <a:pt x="18" y="415"/>
                    <a:pt x="15" y="430"/>
                    <a:pt x="16" y="430"/>
                  </a:cubicBezTo>
                  <a:cubicBezTo>
                    <a:pt x="17" y="430"/>
                    <a:pt x="18" y="425"/>
                    <a:pt x="19" y="423"/>
                  </a:cubicBezTo>
                  <a:close/>
                  <a:moveTo>
                    <a:pt x="1116" y="637"/>
                  </a:moveTo>
                  <a:cubicBezTo>
                    <a:pt x="1115" y="639"/>
                    <a:pt x="1113" y="653"/>
                    <a:pt x="1113" y="655"/>
                  </a:cubicBezTo>
                  <a:cubicBezTo>
                    <a:pt x="1113" y="655"/>
                    <a:pt x="1113" y="655"/>
                    <a:pt x="1113" y="655"/>
                  </a:cubicBezTo>
                  <a:cubicBezTo>
                    <a:pt x="1114" y="654"/>
                    <a:pt x="1115" y="648"/>
                    <a:pt x="1115" y="647"/>
                  </a:cubicBezTo>
                  <a:cubicBezTo>
                    <a:pt x="1115" y="644"/>
                    <a:pt x="1116" y="638"/>
                    <a:pt x="1116" y="637"/>
                  </a:cubicBezTo>
                  <a:cubicBezTo>
                    <a:pt x="1116" y="637"/>
                    <a:pt x="1116" y="637"/>
                    <a:pt x="1116" y="637"/>
                  </a:cubicBezTo>
                  <a:close/>
                  <a:moveTo>
                    <a:pt x="1117" y="570"/>
                  </a:moveTo>
                  <a:cubicBezTo>
                    <a:pt x="1115" y="572"/>
                    <a:pt x="1115" y="588"/>
                    <a:pt x="1116" y="588"/>
                  </a:cubicBezTo>
                  <a:cubicBezTo>
                    <a:pt x="1117" y="588"/>
                    <a:pt x="1118" y="584"/>
                    <a:pt x="1118" y="580"/>
                  </a:cubicBezTo>
                  <a:cubicBezTo>
                    <a:pt x="1118" y="575"/>
                    <a:pt x="1118" y="569"/>
                    <a:pt x="1117" y="570"/>
                  </a:cubicBezTo>
                  <a:close/>
                  <a:moveTo>
                    <a:pt x="32" y="367"/>
                  </a:moveTo>
                  <a:cubicBezTo>
                    <a:pt x="33" y="366"/>
                    <a:pt x="35" y="361"/>
                    <a:pt x="35" y="359"/>
                  </a:cubicBezTo>
                  <a:cubicBezTo>
                    <a:pt x="36" y="356"/>
                    <a:pt x="38" y="351"/>
                    <a:pt x="38" y="351"/>
                  </a:cubicBezTo>
                  <a:cubicBezTo>
                    <a:pt x="38" y="351"/>
                    <a:pt x="37" y="351"/>
                    <a:pt x="37" y="351"/>
                  </a:cubicBezTo>
                  <a:cubicBezTo>
                    <a:pt x="36" y="352"/>
                    <a:pt x="31" y="365"/>
                    <a:pt x="32" y="367"/>
                  </a:cubicBezTo>
                  <a:cubicBezTo>
                    <a:pt x="32" y="367"/>
                    <a:pt x="32" y="367"/>
                    <a:pt x="32" y="367"/>
                  </a:cubicBezTo>
                  <a:close/>
                  <a:moveTo>
                    <a:pt x="25" y="388"/>
                  </a:moveTo>
                  <a:cubicBezTo>
                    <a:pt x="25" y="388"/>
                    <a:pt x="25" y="388"/>
                    <a:pt x="25" y="388"/>
                  </a:cubicBezTo>
                  <a:cubicBezTo>
                    <a:pt x="26" y="387"/>
                    <a:pt x="28" y="381"/>
                    <a:pt x="28" y="380"/>
                  </a:cubicBezTo>
                  <a:cubicBezTo>
                    <a:pt x="29" y="377"/>
                    <a:pt x="30" y="372"/>
                    <a:pt x="30" y="371"/>
                  </a:cubicBezTo>
                  <a:cubicBezTo>
                    <a:pt x="30" y="371"/>
                    <a:pt x="30" y="371"/>
                    <a:pt x="30" y="371"/>
                  </a:cubicBezTo>
                  <a:cubicBezTo>
                    <a:pt x="29" y="373"/>
                    <a:pt x="25" y="386"/>
                    <a:pt x="25" y="388"/>
                  </a:cubicBezTo>
                  <a:close/>
                  <a:moveTo>
                    <a:pt x="36" y="351"/>
                  </a:moveTo>
                  <a:cubicBezTo>
                    <a:pt x="36" y="351"/>
                    <a:pt x="36" y="351"/>
                    <a:pt x="36" y="351"/>
                  </a:cubicBezTo>
                  <a:cubicBezTo>
                    <a:pt x="35" y="352"/>
                    <a:pt x="31" y="365"/>
                    <a:pt x="30" y="367"/>
                  </a:cubicBezTo>
                  <a:cubicBezTo>
                    <a:pt x="31" y="366"/>
                    <a:pt x="32" y="363"/>
                    <a:pt x="33" y="359"/>
                  </a:cubicBezTo>
                  <a:cubicBezTo>
                    <a:pt x="34" y="357"/>
                    <a:pt x="36" y="352"/>
                    <a:pt x="36" y="351"/>
                  </a:cubicBezTo>
                  <a:close/>
                  <a:moveTo>
                    <a:pt x="1112" y="659"/>
                  </a:moveTo>
                  <a:cubicBezTo>
                    <a:pt x="1111" y="661"/>
                    <a:pt x="1108" y="675"/>
                    <a:pt x="1108" y="676"/>
                  </a:cubicBezTo>
                  <a:cubicBezTo>
                    <a:pt x="1108" y="676"/>
                    <a:pt x="1109" y="676"/>
                    <a:pt x="1109" y="676"/>
                  </a:cubicBezTo>
                  <a:cubicBezTo>
                    <a:pt x="1109" y="675"/>
                    <a:pt x="1110" y="669"/>
                    <a:pt x="1111" y="669"/>
                  </a:cubicBezTo>
                  <a:cubicBezTo>
                    <a:pt x="1111" y="665"/>
                    <a:pt x="1112" y="660"/>
                    <a:pt x="1112" y="659"/>
                  </a:cubicBezTo>
                  <a:cubicBezTo>
                    <a:pt x="1112" y="659"/>
                    <a:pt x="1112" y="659"/>
                    <a:pt x="1112" y="659"/>
                  </a:cubicBezTo>
                  <a:close/>
                  <a:moveTo>
                    <a:pt x="1058" y="330"/>
                  </a:moveTo>
                  <a:cubicBezTo>
                    <a:pt x="1056" y="332"/>
                    <a:pt x="1062" y="346"/>
                    <a:pt x="1064" y="346"/>
                  </a:cubicBezTo>
                  <a:cubicBezTo>
                    <a:pt x="1066" y="347"/>
                    <a:pt x="1066" y="344"/>
                    <a:pt x="1064" y="339"/>
                  </a:cubicBezTo>
                  <a:cubicBezTo>
                    <a:pt x="1063" y="335"/>
                    <a:pt x="1060" y="330"/>
                    <a:pt x="1058" y="330"/>
                  </a:cubicBezTo>
                  <a:close/>
                  <a:moveTo>
                    <a:pt x="1113" y="511"/>
                  </a:moveTo>
                  <a:cubicBezTo>
                    <a:pt x="1113" y="507"/>
                    <a:pt x="1112" y="501"/>
                    <a:pt x="1111" y="501"/>
                  </a:cubicBezTo>
                  <a:cubicBezTo>
                    <a:pt x="1110" y="502"/>
                    <a:pt x="1110" y="506"/>
                    <a:pt x="1110" y="511"/>
                  </a:cubicBezTo>
                  <a:cubicBezTo>
                    <a:pt x="1110" y="514"/>
                    <a:pt x="1111" y="519"/>
                    <a:pt x="1112" y="519"/>
                  </a:cubicBezTo>
                  <a:cubicBezTo>
                    <a:pt x="1113" y="519"/>
                    <a:pt x="1114" y="516"/>
                    <a:pt x="1113" y="511"/>
                  </a:cubicBezTo>
                  <a:close/>
                  <a:moveTo>
                    <a:pt x="1051" y="330"/>
                  </a:moveTo>
                  <a:cubicBezTo>
                    <a:pt x="1048" y="332"/>
                    <a:pt x="1055" y="346"/>
                    <a:pt x="1057" y="346"/>
                  </a:cubicBezTo>
                  <a:cubicBezTo>
                    <a:pt x="1059" y="347"/>
                    <a:pt x="1059" y="344"/>
                    <a:pt x="1057" y="339"/>
                  </a:cubicBezTo>
                  <a:cubicBezTo>
                    <a:pt x="1056" y="335"/>
                    <a:pt x="1053" y="330"/>
                    <a:pt x="1051" y="330"/>
                  </a:cubicBezTo>
                  <a:close/>
                  <a:moveTo>
                    <a:pt x="1078" y="388"/>
                  </a:moveTo>
                  <a:cubicBezTo>
                    <a:pt x="1079" y="388"/>
                    <a:pt x="1080" y="385"/>
                    <a:pt x="1078" y="380"/>
                  </a:cubicBezTo>
                  <a:cubicBezTo>
                    <a:pt x="1077" y="376"/>
                    <a:pt x="1075" y="371"/>
                    <a:pt x="1073" y="371"/>
                  </a:cubicBezTo>
                  <a:cubicBezTo>
                    <a:pt x="1070" y="373"/>
                    <a:pt x="1076" y="387"/>
                    <a:pt x="1078" y="388"/>
                  </a:cubicBezTo>
                  <a:close/>
                  <a:moveTo>
                    <a:pt x="1066" y="351"/>
                  </a:moveTo>
                  <a:cubicBezTo>
                    <a:pt x="1063" y="352"/>
                    <a:pt x="1069" y="366"/>
                    <a:pt x="1072" y="367"/>
                  </a:cubicBezTo>
                  <a:cubicBezTo>
                    <a:pt x="1073" y="367"/>
                    <a:pt x="1073" y="364"/>
                    <a:pt x="1072" y="359"/>
                  </a:cubicBezTo>
                  <a:cubicBezTo>
                    <a:pt x="1070" y="356"/>
                    <a:pt x="1068" y="350"/>
                    <a:pt x="1066" y="351"/>
                  </a:cubicBezTo>
                  <a:close/>
                  <a:moveTo>
                    <a:pt x="1070" y="474"/>
                  </a:moveTo>
                  <a:cubicBezTo>
                    <a:pt x="1072" y="475"/>
                    <a:pt x="1074" y="471"/>
                    <a:pt x="1073" y="466"/>
                  </a:cubicBezTo>
                  <a:cubicBezTo>
                    <a:pt x="1073" y="462"/>
                    <a:pt x="1071" y="456"/>
                    <a:pt x="1068" y="457"/>
                  </a:cubicBezTo>
                  <a:cubicBezTo>
                    <a:pt x="1064" y="458"/>
                    <a:pt x="1066" y="472"/>
                    <a:pt x="1070" y="474"/>
                  </a:cubicBezTo>
                  <a:close/>
                  <a:moveTo>
                    <a:pt x="1085" y="452"/>
                  </a:moveTo>
                  <a:cubicBezTo>
                    <a:pt x="1087" y="453"/>
                    <a:pt x="1088" y="449"/>
                    <a:pt x="1087" y="444"/>
                  </a:cubicBezTo>
                  <a:cubicBezTo>
                    <a:pt x="1086" y="440"/>
                    <a:pt x="1084" y="434"/>
                    <a:pt x="1082" y="435"/>
                  </a:cubicBezTo>
                  <a:cubicBezTo>
                    <a:pt x="1079" y="437"/>
                    <a:pt x="1083" y="451"/>
                    <a:pt x="1085" y="452"/>
                  </a:cubicBezTo>
                  <a:close/>
                  <a:moveTo>
                    <a:pt x="1093" y="452"/>
                  </a:moveTo>
                  <a:cubicBezTo>
                    <a:pt x="1094" y="453"/>
                    <a:pt x="1095" y="449"/>
                    <a:pt x="1094" y="444"/>
                  </a:cubicBezTo>
                  <a:cubicBezTo>
                    <a:pt x="1093" y="440"/>
                    <a:pt x="1091" y="434"/>
                    <a:pt x="1090" y="435"/>
                  </a:cubicBezTo>
                  <a:cubicBezTo>
                    <a:pt x="1086" y="437"/>
                    <a:pt x="1090" y="451"/>
                    <a:pt x="1093" y="452"/>
                  </a:cubicBezTo>
                  <a:close/>
                  <a:moveTo>
                    <a:pt x="1095" y="430"/>
                  </a:moveTo>
                  <a:cubicBezTo>
                    <a:pt x="1096" y="430"/>
                    <a:pt x="1096" y="427"/>
                    <a:pt x="1096" y="423"/>
                  </a:cubicBezTo>
                  <a:cubicBezTo>
                    <a:pt x="1095" y="418"/>
                    <a:pt x="1093" y="413"/>
                    <a:pt x="1091" y="413"/>
                  </a:cubicBezTo>
                  <a:cubicBezTo>
                    <a:pt x="1090" y="414"/>
                    <a:pt x="1090" y="418"/>
                    <a:pt x="1091" y="423"/>
                  </a:cubicBezTo>
                  <a:cubicBezTo>
                    <a:pt x="1092" y="426"/>
                    <a:pt x="1094" y="430"/>
                    <a:pt x="1095" y="430"/>
                  </a:cubicBezTo>
                  <a:close/>
                  <a:moveTo>
                    <a:pt x="1088" y="474"/>
                  </a:moveTo>
                  <a:cubicBezTo>
                    <a:pt x="1090" y="475"/>
                    <a:pt x="1091" y="471"/>
                    <a:pt x="1090" y="466"/>
                  </a:cubicBezTo>
                  <a:cubicBezTo>
                    <a:pt x="1090" y="462"/>
                    <a:pt x="1088" y="456"/>
                    <a:pt x="1086" y="457"/>
                  </a:cubicBezTo>
                  <a:cubicBezTo>
                    <a:pt x="1082" y="459"/>
                    <a:pt x="1086" y="473"/>
                    <a:pt x="1088" y="474"/>
                  </a:cubicBezTo>
                  <a:close/>
                  <a:moveTo>
                    <a:pt x="1099" y="452"/>
                  </a:moveTo>
                  <a:cubicBezTo>
                    <a:pt x="1100" y="452"/>
                    <a:pt x="1101" y="449"/>
                    <a:pt x="1100" y="444"/>
                  </a:cubicBezTo>
                  <a:cubicBezTo>
                    <a:pt x="1099" y="440"/>
                    <a:pt x="1098" y="434"/>
                    <a:pt x="1096" y="435"/>
                  </a:cubicBezTo>
                  <a:cubicBezTo>
                    <a:pt x="1095" y="436"/>
                    <a:pt x="1095" y="439"/>
                    <a:pt x="1096" y="444"/>
                  </a:cubicBezTo>
                  <a:cubicBezTo>
                    <a:pt x="1097" y="448"/>
                    <a:pt x="1098" y="452"/>
                    <a:pt x="1099" y="452"/>
                  </a:cubicBezTo>
                  <a:close/>
                  <a:moveTo>
                    <a:pt x="1101" y="413"/>
                  </a:moveTo>
                  <a:cubicBezTo>
                    <a:pt x="1099" y="415"/>
                    <a:pt x="1104" y="430"/>
                    <a:pt x="1105" y="430"/>
                  </a:cubicBezTo>
                  <a:cubicBezTo>
                    <a:pt x="1105" y="430"/>
                    <a:pt x="1105" y="427"/>
                    <a:pt x="1104" y="423"/>
                  </a:cubicBezTo>
                  <a:cubicBezTo>
                    <a:pt x="1103" y="418"/>
                    <a:pt x="1102" y="413"/>
                    <a:pt x="1101" y="413"/>
                  </a:cubicBezTo>
                  <a:close/>
                  <a:moveTo>
                    <a:pt x="1103" y="474"/>
                  </a:moveTo>
                  <a:cubicBezTo>
                    <a:pt x="1104" y="474"/>
                    <a:pt x="1104" y="471"/>
                    <a:pt x="1104" y="466"/>
                  </a:cubicBezTo>
                  <a:cubicBezTo>
                    <a:pt x="1103" y="462"/>
                    <a:pt x="1102" y="456"/>
                    <a:pt x="1100" y="457"/>
                  </a:cubicBezTo>
                  <a:cubicBezTo>
                    <a:pt x="1099" y="457"/>
                    <a:pt x="1099" y="461"/>
                    <a:pt x="1100" y="466"/>
                  </a:cubicBezTo>
                  <a:cubicBezTo>
                    <a:pt x="1100" y="470"/>
                    <a:pt x="1101" y="474"/>
                    <a:pt x="1103" y="474"/>
                  </a:cubicBezTo>
                  <a:close/>
                  <a:moveTo>
                    <a:pt x="1104" y="413"/>
                  </a:moveTo>
                  <a:cubicBezTo>
                    <a:pt x="1104" y="413"/>
                    <a:pt x="1104" y="413"/>
                    <a:pt x="1104" y="413"/>
                  </a:cubicBezTo>
                  <a:cubicBezTo>
                    <a:pt x="1103" y="415"/>
                    <a:pt x="1107" y="430"/>
                    <a:pt x="1108" y="430"/>
                  </a:cubicBezTo>
                  <a:cubicBezTo>
                    <a:pt x="1109" y="430"/>
                    <a:pt x="1108" y="425"/>
                    <a:pt x="1107" y="423"/>
                  </a:cubicBezTo>
                  <a:cubicBezTo>
                    <a:pt x="1106" y="419"/>
                    <a:pt x="1105" y="414"/>
                    <a:pt x="1104" y="413"/>
                  </a:cubicBezTo>
                  <a:close/>
                  <a:moveTo>
                    <a:pt x="1105" y="452"/>
                  </a:moveTo>
                  <a:cubicBezTo>
                    <a:pt x="1106" y="452"/>
                    <a:pt x="1106" y="449"/>
                    <a:pt x="1105" y="444"/>
                  </a:cubicBezTo>
                  <a:cubicBezTo>
                    <a:pt x="1104" y="440"/>
                    <a:pt x="1103" y="434"/>
                    <a:pt x="1101" y="435"/>
                  </a:cubicBezTo>
                  <a:cubicBezTo>
                    <a:pt x="1099" y="437"/>
                    <a:pt x="1103" y="452"/>
                    <a:pt x="1105" y="452"/>
                  </a:cubicBezTo>
                  <a:close/>
                  <a:moveTo>
                    <a:pt x="1077" y="452"/>
                  </a:moveTo>
                  <a:cubicBezTo>
                    <a:pt x="1079" y="453"/>
                    <a:pt x="1079" y="449"/>
                    <a:pt x="1079" y="444"/>
                  </a:cubicBezTo>
                  <a:cubicBezTo>
                    <a:pt x="1078" y="440"/>
                    <a:pt x="1076" y="434"/>
                    <a:pt x="1074" y="435"/>
                  </a:cubicBezTo>
                  <a:cubicBezTo>
                    <a:pt x="1070" y="437"/>
                    <a:pt x="1074" y="451"/>
                    <a:pt x="1077" y="452"/>
                  </a:cubicBezTo>
                  <a:close/>
                  <a:moveTo>
                    <a:pt x="1043" y="387"/>
                  </a:moveTo>
                  <a:cubicBezTo>
                    <a:pt x="1045" y="388"/>
                    <a:pt x="1046" y="385"/>
                    <a:pt x="1045" y="380"/>
                  </a:cubicBezTo>
                  <a:cubicBezTo>
                    <a:pt x="1044" y="376"/>
                    <a:pt x="1041" y="371"/>
                    <a:pt x="1039" y="371"/>
                  </a:cubicBezTo>
                  <a:cubicBezTo>
                    <a:pt x="1034" y="373"/>
                    <a:pt x="1039" y="386"/>
                    <a:pt x="1043" y="387"/>
                  </a:cubicBezTo>
                  <a:close/>
                  <a:moveTo>
                    <a:pt x="1048" y="409"/>
                  </a:moveTo>
                  <a:cubicBezTo>
                    <a:pt x="1051" y="410"/>
                    <a:pt x="1052" y="406"/>
                    <a:pt x="1051" y="401"/>
                  </a:cubicBezTo>
                  <a:cubicBezTo>
                    <a:pt x="1050" y="397"/>
                    <a:pt x="1047" y="392"/>
                    <a:pt x="1044" y="392"/>
                  </a:cubicBezTo>
                  <a:cubicBezTo>
                    <a:pt x="1040" y="394"/>
                    <a:pt x="1044" y="407"/>
                    <a:pt x="1048" y="409"/>
                  </a:cubicBezTo>
                  <a:close/>
                  <a:moveTo>
                    <a:pt x="1098" y="392"/>
                  </a:moveTo>
                  <a:cubicBezTo>
                    <a:pt x="1098" y="392"/>
                    <a:pt x="1098" y="392"/>
                    <a:pt x="1098" y="392"/>
                  </a:cubicBezTo>
                  <a:cubicBezTo>
                    <a:pt x="1097" y="394"/>
                    <a:pt x="1102" y="408"/>
                    <a:pt x="1103" y="409"/>
                  </a:cubicBezTo>
                  <a:cubicBezTo>
                    <a:pt x="1103" y="408"/>
                    <a:pt x="1102" y="404"/>
                    <a:pt x="1102" y="401"/>
                  </a:cubicBezTo>
                  <a:cubicBezTo>
                    <a:pt x="1101" y="398"/>
                    <a:pt x="1099" y="392"/>
                    <a:pt x="1098" y="392"/>
                  </a:cubicBezTo>
                  <a:close/>
                  <a:moveTo>
                    <a:pt x="1037" y="367"/>
                  </a:moveTo>
                  <a:cubicBezTo>
                    <a:pt x="1039" y="368"/>
                    <a:pt x="1040" y="364"/>
                    <a:pt x="1039" y="359"/>
                  </a:cubicBezTo>
                  <a:cubicBezTo>
                    <a:pt x="1038" y="356"/>
                    <a:pt x="1035" y="350"/>
                    <a:pt x="1032" y="351"/>
                  </a:cubicBezTo>
                  <a:cubicBezTo>
                    <a:pt x="1028" y="352"/>
                    <a:pt x="1033" y="365"/>
                    <a:pt x="1037" y="367"/>
                  </a:cubicBezTo>
                  <a:close/>
                  <a:moveTo>
                    <a:pt x="1053" y="387"/>
                  </a:moveTo>
                  <a:cubicBezTo>
                    <a:pt x="1055" y="388"/>
                    <a:pt x="1056" y="385"/>
                    <a:pt x="1055" y="380"/>
                  </a:cubicBezTo>
                  <a:cubicBezTo>
                    <a:pt x="1054" y="376"/>
                    <a:pt x="1051" y="371"/>
                    <a:pt x="1049" y="371"/>
                  </a:cubicBezTo>
                  <a:cubicBezTo>
                    <a:pt x="1045" y="373"/>
                    <a:pt x="1049" y="386"/>
                    <a:pt x="1053" y="387"/>
                  </a:cubicBezTo>
                  <a:close/>
                  <a:moveTo>
                    <a:pt x="1058" y="409"/>
                  </a:moveTo>
                  <a:cubicBezTo>
                    <a:pt x="1061" y="410"/>
                    <a:pt x="1062" y="406"/>
                    <a:pt x="1061" y="401"/>
                  </a:cubicBezTo>
                  <a:cubicBezTo>
                    <a:pt x="1060" y="397"/>
                    <a:pt x="1057" y="392"/>
                    <a:pt x="1055" y="392"/>
                  </a:cubicBezTo>
                  <a:cubicBezTo>
                    <a:pt x="1051" y="394"/>
                    <a:pt x="1055" y="407"/>
                    <a:pt x="1058" y="409"/>
                  </a:cubicBezTo>
                  <a:close/>
                  <a:moveTo>
                    <a:pt x="1073" y="430"/>
                  </a:moveTo>
                  <a:cubicBezTo>
                    <a:pt x="1075" y="431"/>
                    <a:pt x="1075" y="427"/>
                    <a:pt x="1075" y="423"/>
                  </a:cubicBezTo>
                  <a:cubicBezTo>
                    <a:pt x="1074" y="418"/>
                    <a:pt x="1071" y="413"/>
                    <a:pt x="1069" y="413"/>
                  </a:cubicBezTo>
                  <a:cubicBezTo>
                    <a:pt x="1065" y="415"/>
                    <a:pt x="1070" y="429"/>
                    <a:pt x="1073" y="430"/>
                  </a:cubicBezTo>
                  <a:close/>
                  <a:moveTo>
                    <a:pt x="1068" y="409"/>
                  </a:moveTo>
                  <a:cubicBezTo>
                    <a:pt x="1070" y="409"/>
                    <a:pt x="1070" y="406"/>
                    <a:pt x="1069" y="401"/>
                  </a:cubicBezTo>
                  <a:cubicBezTo>
                    <a:pt x="1069" y="397"/>
                    <a:pt x="1066" y="392"/>
                    <a:pt x="1064" y="392"/>
                  </a:cubicBezTo>
                  <a:cubicBezTo>
                    <a:pt x="1060" y="394"/>
                    <a:pt x="1065" y="408"/>
                    <a:pt x="1068" y="409"/>
                  </a:cubicBezTo>
                  <a:close/>
                  <a:moveTo>
                    <a:pt x="1063" y="430"/>
                  </a:moveTo>
                  <a:cubicBezTo>
                    <a:pt x="1065" y="431"/>
                    <a:pt x="1066" y="428"/>
                    <a:pt x="1066" y="423"/>
                  </a:cubicBezTo>
                  <a:cubicBezTo>
                    <a:pt x="1065" y="418"/>
                    <a:pt x="1062" y="413"/>
                    <a:pt x="1060" y="413"/>
                  </a:cubicBezTo>
                  <a:cubicBezTo>
                    <a:pt x="1056" y="415"/>
                    <a:pt x="1059" y="428"/>
                    <a:pt x="1063" y="430"/>
                  </a:cubicBezTo>
                  <a:close/>
                  <a:moveTo>
                    <a:pt x="37" y="690"/>
                  </a:moveTo>
                  <a:cubicBezTo>
                    <a:pt x="36" y="686"/>
                    <a:pt x="34" y="681"/>
                    <a:pt x="32" y="681"/>
                  </a:cubicBezTo>
                  <a:cubicBezTo>
                    <a:pt x="31" y="682"/>
                    <a:pt x="32" y="687"/>
                    <a:pt x="33" y="689"/>
                  </a:cubicBezTo>
                  <a:cubicBezTo>
                    <a:pt x="34" y="696"/>
                    <a:pt x="36" y="698"/>
                    <a:pt x="37" y="698"/>
                  </a:cubicBezTo>
                  <a:cubicBezTo>
                    <a:pt x="38" y="698"/>
                    <a:pt x="38" y="694"/>
                    <a:pt x="37" y="690"/>
                  </a:cubicBezTo>
                  <a:close/>
                  <a:moveTo>
                    <a:pt x="43" y="711"/>
                  </a:moveTo>
                  <a:cubicBezTo>
                    <a:pt x="42" y="707"/>
                    <a:pt x="39" y="702"/>
                    <a:pt x="38" y="702"/>
                  </a:cubicBezTo>
                  <a:cubicBezTo>
                    <a:pt x="36" y="703"/>
                    <a:pt x="38" y="709"/>
                    <a:pt x="38" y="711"/>
                  </a:cubicBezTo>
                  <a:cubicBezTo>
                    <a:pt x="40" y="717"/>
                    <a:pt x="42" y="719"/>
                    <a:pt x="43" y="719"/>
                  </a:cubicBezTo>
                  <a:cubicBezTo>
                    <a:pt x="44" y="719"/>
                    <a:pt x="44" y="716"/>
                    <a:pt x="43" y="711"/>
                  </a:cubicBezTo>
                  <a:close/>
                  <a:moveTo>
                    <a:pt x="1031" y="387"/>
                  </a:moveTo>
                  <a:cubicBezTo>
                    <a:pt x="1034" y="389"/>
                    <a:pt x="1036" y="385"/>
                    <a:pt x="1034" y="380"/>
                  </a:cubicBezTo>
                  <a:cubicBezTo>
                    <a:pt x="1034" y="376"/>
                    <a:pt x="1031" y="371"/>
                    <a:pt x="1028" y="371"/>
                  </a:cubicBezTo>
                  <a:cubicBezTo>
                    <a:pt x="1023" y="373"/>
                    <a:pt x="1027" y="385"/>
                    <a:pt x="1031" y="387"/>
                  </a:cubicBezTo>
                  <a:close/>
                  <a:moveTo>
                    <a:pt x="32" y="669"/>
                  </a:moveTo>
                  <a:cubicBezTo>
                    <a:pt x="31" y="664"/>
                    <a:pt x="29" y="659"/>
                    <a:pt x="28" y="659"/>
                  </a:cubicBezTo>
                  <a:cubicBezTo>
                    <a:pt x="26" y="660"/>
                    <a:pt x="27" y="666"/>
                    <a:pt x="28" y="668"/>
                  </a:cubicBezTo>
                  <a:cubicBezTo>
                    <a:pt x="29" y="674"/>
                    <a:pt x="31" y="676"/>
                    <a:pt x="32" y="676"/>
                  </a:cubicBezTo>
                  <a:cubicBezTo>
                    <a:pt x="33" y="676"/>
                    <a:pt x="33" y="673"/>
                    <a:pt x="32" y="669"/>
                  </a:cubicBezTo>
                  <a:close/>
                  <a:moveTo>
                    <a:pt x="1095" y="392"/>
                  </a:moveTo>
                  <a:cubicBezTo>
                    <a:pt x="1094" y="394"/>
                    <a:pt x="1099" y="409"/>
                    <a:pt x="1100" y="409"/>
                  </a:cubicBezTo>
                  <a:cubicBezTo>
                    <a:pt x="1100" y="409"/>
                    <a:pt x="1100" y="406"/>
                    <a:pt x="1099" y="401"/>
                  </a:cubicBezTo>
                  <a:cubicBezTo>
                    <a:pt x="1098" y="397"/>
                    <a:pt x="1096" y="392"/>
                    <a:pt x="1095" y="392"/>
                  </a:cubicBezTo>
                  <a:close/>
                  <a:moveTo>
                    <a:pt x="65" y="719"/>
                  </a:moveTo>
                  <a:cubicBezTo>
                    <a:pt x="67" y="720"/>
                    <a:pt x="67" y="716"/>
                    <a:pt x="66" y="711"/>
                  </a:cubicBezTo>
                  <a:cubicBezTo>
                    <a:pt x="65" y="707"/>
                    <a:pt x="63" y="702"/>
                    <a:pt x="60" y="702"/>
                  </a:cubicBezTo>
                  <a:cubicBezTo>
                    <a:pt x="57" y="704"/>
                    <a:pt x="61" y="717"/>
                    <a:pt x="65" y="719"/>
                  </a:cubicBezTo>
                  <a:close/>
                  <a:moveTo>
                    <a:pt x="19" y="435"/>
                  </a:moveTo>
                  <a:cubicBezTo>
                    <a:pt x="18" y="436"/>
                    <a:pt x="17" y="439"/>
                    <a:pt x="16" y="444"/>
                  </a:cubicBezTo>
                  <a:cubicBezTo>
                    <a:pt x="15" y="448"/>
                    <a:pt x="15" y="452"/>
                    <a:pt x="16" y="452"/>
                  </a:cubicBezTo>
                  <a:cubicBezTo>
                    <a:pt x="16" y="452"/>
                    <a:pt x="18" y="449"/>
                    <a:pt x="19" y="444"/>
                  </a:cubicBezTo>
                  <a:cubicBezTo>
                    <a:pt x="19" y="440"/>
                    <a:pt x="20" y="434"/>
                    <a:pt x="19" y="435"/>
                  </a:cubicBezTo>
                  <a:close/>
                  <a:moveTo>
                    <a:pt x="15" y="457"/>
                  </a:moveTo>
                  <a:cubicBezTo>
                    <a:pt x="14" y="457"/>
                    <a:pt x="13" y="461"/>
                    <a:pt x="12" y="466"/>
                  </a:cubicBezTo>
                  <a:cubicBezTo>
                    <a:pt x="12" y="470"/>
                    <a:pt x="11" y="474"/>
                    <a:pt x="12" y="474"/>
                  </a:cubicBezTo>
                  <a:cubicBezTo>
                    <a:pt x="13" y="474"/>
                    <a:pt x="14" y="471"/>
                    <a:pt x="15" y="466"/>
                  </a:cubicBezTo>
                  <a:cubicBezTo>
                    <a:pt x="16" y="462"/>
                    <a:pt x="16" y="456"/>
                    <a:pt x="15" y="457"/>
                  </a:cubicBezTo>
                  <a:close/>
                  <a:moveTo>
                    <a:pt x="18" y="659"/>
                  </a:moveTo>
                  <a:cubicBezTo>
                    <a:pt x="16" y="661"/>
                    <a:pt x="20" y="676"/>
                    <a:pt x="21" y="676"/>
                  </a:cubicBezTo>
                  <a:cubicBezTo>
                    <a:pt x="22" y="676"/>
                    <a:pt x="22" y="673"/>
                    <a:pt x="21" y="669"/>
                  </a:cubicBezTo>
                  <a:cubicBezTo>
                    <a:pt x="20" y="664"/>
                    <a:pt x="19" y="659"/>
                    <a:pt x="18" y="659"/>
                  </a:cubicBezTo>
                  <a:close/>
                  <a:moveTo>
                    <a:pt x="22" y="659"/>
                  </a:moveTo>
                  <a:cubicBezTo>
                    <a:pt x="21" y="660"/>
                    <a:pt x="22" y="666"/>
                    <a:pt x="22" y="668"/>
                  </a:cubicBezTo>
                  <a:cubicBezTo>
                    <a:pt x="24" y="674"/>
                    <a:pt x="25" y="676"/>
                    <a:pt x="26" y="676"/>
                  </a:cubicBezTo>
                  <a:cubicBezTo>
                    <a:pt x="27" y="676"/>
                    <a:pt x="27" y="673"/>
                    <a:pt x="26" y="669"/>
                  </a:cubicBezTo>
                  <a:cubicBezTo>
                    <a:pt x="25" y="664"/>
                    <a:pt x="24" y="659"/>
                    <a:pt x="22" y="659"/>
                  </a:cubicBezTo>
                  <a:close/>
                  <a:moveTo>
                    <a:pt x="60" y="659"/>
                  </a:moveTo>
                  <a:cubicBezTo>
                    <a:pt x="56" y="661"/>
                    <a:pt x="60" y="674"/>
                    <a:pt x="63" y="676"/>
                  </a:cubicBezTo>
                  <a:cubicBezTo>
                    <a:pt x="66" y="677"/>
                    <a:pt x="67" y="674"/>
                    <a:pt x="66" y="669"/>
                  </a:cubicBezTo>
                  <a:cubicBezTo>
                    <a:pt x="65" y="664"/>
                    <a:pt x="63" y="659"/>
                    <a:pt x="60" y="659"/>
                  </a:cubicBezTo>
                  <a:close/>
                  <a:moveTo>
                    <a:pt x="1084" y="351"/>
                  </a:moveTo>
                  <a:cubicBezTo>
                    <a:pt x="1084" y="351"/>
                    <a:pt x="1084" y="351"/>
                    <a:pt x="1084" y="351"/>
                  </a:cubicBezTo>
                  <a:cubicBezTo>
                    <a:pt x="1084" y="352"/>
                    <a:pt x="1089" y="366"/>
                    <a:pt x="1090" y="367"/>
                  </a:cubicBezTo>
                  <a:cubicBezTo>
                    <a:pt x="1091" y="366"/>
                    <a:pt x="1089" y="362"/>
                    <a:pt x="1088" y="359"/>
                  </a:cubicBezTo>
                  <a:cubicBezTo>
                    <a:pt x="1087" y="356"/>
                    <a:pt x="1085" y="351"/>
                    <a:pt x="1084" y="351"/>
                  </a:cubicBezTo>
                  <a:close/>
                  <a:moveTo>
                    <a:pt x="1089" y="371"/>
                  </a:moveTo>
                  <a:cubicBezTo>
                    <a:pt x="1087" y="373"/>
                    <a:pt x="1093" y="388"/>
                    <a:pt x="1094" y="388"/>
                  </a:cubicBezTo>
                  <a:cubicBezTo>
                    <a:pt x="1095" y="388"/>
                    <a:pt x="1094" y="384"/>
                    <a:pt x="1093" y="380"/>
                  </a:cubicBezTo>
                  <a:cubicBezTo>
                    <a:pt x="1092" y="376"/>
                    <a:pt x="1089" y="371"/>
                    <a:pt x="1089" y="371"/>
                  </a:cubicBezTo>
                  <a:close/>
                  <a:moveTo>
                    <a:pt x="1081" y="351"/>
                  </a:moveTo>
                  <a:cubicBezTo>
                    <a:pt x="1080" y="353"/>
                    <a:pt x="1086" y="367"/>
                    <a:pt x="1087" y="367"/>
                  </a:cubicBezTo>
                  <a:cubicBezTo>
                    <a:pt x="1088" y="367"/>
                    <a:pt x="1087" y="364"/>
                    <a:pt x="1086" y="359"/>
                  </a:cubicBezTo>
                  <a:cubicBezTo>
                    <a:pt x="1084" y="356"/>
                    <a:pt x="1082" y="350"/>
                    <a:pt x="1081" y="351"/>
                  </a:cubicBezTo>
                  <a:close/>
                  <a:moveTo>
                    <a:pt x="73" y="647"/>
                  </a:moveTo>
                  <a:cubicBezTo>
                    <a:pt x="73" y="643"/>
                    <a:pt x="71" y="637"/>
                    <a:pt x="68" y="637"/>
                  </a:cubicBezTo>
                  <a:cubicBezTo>
                    <a:pt x="63" y="639"/>
                    <a:pt x="66" y="653"/>
                    <a:pt x="70" y="654"/>
                  </a:cubicBezTo>
                  <a:cubicBezTo>
                    <a:pt x="72" y="655"/>
                    <a:pt x="74" y="652"/>
                    <a:pt x="73" y="647"/>
                  </a:cubicBezTo>
                  <a:close/>
                  <a:moveTo>
                    <a:pt x="1092" y="371"/>
                  </a:moveTo>
                  <a:cubicBezTo>
                    <a:pt x="1092" y="371"/>
                    <a:pt x="1092" y="371"/>
                    <a:pt x="1092" y="371"/>
                  </a:cubicBezTo>
                  <a:cubicBezTo>
                    <a:pt x="1091" y="373"/>
                    <a:pt x="1096" y="387"/>
                    <a:pt x="1097" y="388"/>
                  </a:cubicBezTo>
                  <a:cubicBezTo>
                    <a:pt x="1097" y="387"/>
                    <a:pt x="1096" y="383"/>
                    <a:pt x="1095" y="380"/>
                  </a:cubicBezTo>
                  <a:cubicBezTo>
                    <a:pt x="1094" y="377"/>
                    <a:pt x="1092" y="371"/>
                    <a:pt x="1092" y="371"/>
                  </a:cubicBezTo>
                  <a:close/>
                  <a:moveTo>
                    <a:pt x="1076" y="330"/>
                  </a:moveTo>
                  <a:cubicBezTo>
                    <a:pt x="1076" y="330"/>
                    <a:pt x="1076" y="330"/>
                    <a:pt x="1076" y="330"/>
                  </a:cubicBezTo>
                  <a:cubicBezTo>
                    <a:pt x="1076" y="332"/>
                    <a:pt x="1081" y="346"/>
                    <a:pt x="1083" y="346"/>
                  </a:cubicBezTo>
                  <a:cubicBezTo>
                    <a:pt x="1083" y="346"/>
                    <a:pt x="1082" y="342"/>
                    <a:pt x="1081" y="339"/>
                  </a:cubicBezTo>
                  <a:cubicBezTo>
                    <a:pt x="1079" y="336"/>
                    <a:pt x="1077" y="331"/>
                    <a:pt x="1076" y="330"/>
                  </a:cubicBezTo>
                  <a:close/>
                  <a:moveTo>
                    <a:pt x="65" y="681"/>
                  </a:moveTo>
                  <a:cubicBezTo>
                    <a:pt x="61" y="683"/>
                    <a:pt x="65" y="696"/>
                    <a:pt x="68" y="698"/>
                  </a:cubicBezTo>
                  <a:cubicBezTo>
                    <a:pt x="70" y="699"/>
                    <a:pt x="72" y="695"/>
                    <a:pt x="71" y="690"/>
                  </a:cubicBezTo>
                  <a:cubicBezTo>
                    <a:pt x="70" y="686"/>
                    <a:pt x="67" y="681"/>
                    <a:pt x="65" y="681"/>
                  </a:cubicBezTo>
                  <a:close/>
                  <a:moveTo>
                    <a:pt x="1073" y="330"/>
                  </a:moveTo>
                  <a:cubicBezTo>
                    <a:pt x="1072" y="332"/>
                    <a:pt x="1079" y="346"/>
                    <a:pt x="1080" y="346"/>
                  </a:cubicBezTo>
                  <a:cubicBezTo>
                    <a:pt x="1080" y="346"/>
                    <a:pt x="1080" y="343"/>
                    <a:pt x="1078" y="339"/>
                  </a:cubicBezTo>
                  <a:cubicBezTo>
                    <a:pt x="1077" y="335"/>
                    <a:pt x="1074" y="330"/>
                    <a:pt x="1073" y="330"/>
                  </a:cubicBezTo>
                  <a:close/>
                  <a:moveTo>
                    <a:pt x="71" y="659"/>
                  </a:moveTo>
                  <a:cubicBezTo>
                    <a:pt x="66" y="661"/>
                    <a:pt x="70" y="674"/>
                    <a:pt x="74" y="676"/>
                  </a:cubicBezTo>
                  <a:cubicBezTo>
                    <a:pt x="76" y="677"/>
                    <a:pt x="78" y="674"/>
                    <a:pt x="77" y="669"/>
                  </a:cubicBezTo>
                  <a:cubicBezTo>
                    <a:pt x="76" y="664"/>
                    <a:pt x="74" y="659"/>
                    <a:pt x="71" y="659"/>
                  </a:cubicBezTo>
                  <a:close/>
                  <a:moveTo>
                    <a:pt x="47" y="351"/>
                  </a:moveTo>
                  <a:cubicBezTo>
                    <a:pt x="44" y="352"/>
                    <a:pt x="40" y="366"/>
                    <a:pt x="42" y="367"/>
                  </a:cubicBezTo>
                  <a:cubicBezTo>
                    <a:pt x="42" y="367"/>
                    <a:pt x="44" y="364"/>
                    <a:pt x="46" y="359"/>
                  </a:cubicBezTo>
                  <a:cubicBezTo>
                    <a:pt x="48" y="356"/>
                    <a:pt x="49" y="350"/>
                    <a:pt x="47" y="351"/>
                  </a:cubicBezTo>
                  <a:close/>
                  <a:moveTo>
                    <a:pt x="47" y="367"/>
                  </a:moveTo>
                  <a:cubicBezTo>
                    <a:pt x="48" y="367"/>
                    <a:pt x="50" y="364"/>
                    <a:pt x="52" y="359"/>
                  </a:cubicBezTo>
                  <a:cubicBezTo>
                    <a:pt x="53" y="356"/>
                    <a:pt x="55" y="350"/>
                    <a:pt x="53" y="351"/>
                  </a:cubicBezTo>
                  <a:cubicBezTo>
                    <a:pt x="49" y="352"/>
                    <a:pt x="46" y="366"/>
                    <a:pt x="47" y="367"/>
                  </a:cubicBezTo>
                  <a:close/>
                  <a:moveTo>
                    <a:pt x="55" y="330"/>
                  </a:moveTo>
                  <a:cubicBezTo>
                    <a:pt x="52" y="332"/>
                    <a:pt x="48" y="346"/>
                    <a:pt x="49" y="346"/>
                  </a:cubicBezTo>
                  <a:cubicBezTo>
                    <a:pt x="50" y="347"/>
                    <a:pt x="52" y="344"/>
                    <a:pt x="54" y="339"/>
                  </a:cubicBezTo>
                  <a:cubicBezTo>
                    <a:pt x="55" y="335"/>
                    <a:pt x="57" y="330"/>
                    <a:pt x="55" y="330"/>
                  </a:cubicBezTo>
                  <a:close/>
                  <a:moveTo>
                    <a:pt x="61" y="330"/>
                  </a:moveTo>
                  <a:cubicBezTo>
                    <a:pt x="57" y="332"/>
                    <a:pt x="53" y="346"/>
                    <a:pt x="54" y="346"/>
                  </a:cubicBezTo>
                  <a:cubicBezTo>
                    <a:pt x="55" y="347"/>
                    <a:pt x="58" y="344"/>
                    <a:pt x="59" y="339"/>
                  </a:cubicBezTo>
                  <a:cubicBezTo>
                    <a:pt x="61" y="335"/>
                    <a:pt x="62" y="330"/>
                    <a:pt x="61" y="330"/>
                  </a:cubicBezTo>
                  <a:close/>
                  <a:moveTo>
                    <a:pt x="56" y="719"/>
                  </a:moveTo>
                  <a:cubicBezTo>
                    <a:pt x="58" y="719"/>
                    <a:pt x="59" y="716"/>
                    <a:pt x="57" y="711"/>
                  </a:cubicBezTo>
                  <a:cubicBezTo>
                    <a:pt x="56" y="707"/>
                    <a:pt x="54" y="702"/>
                    <a:pt x="52" y="702"/>
                  </a:cubicBezTo>
                  <a:cubicBezTo>
                    <a:pt x="48" y="704"/>
                    <a:pt x="54" y="718"/>
                    <a:pt x="56" y="719"/>
                  </a:cubicBezTo>
                  <a:close/>
                  <a:moveTo>
                    <a:pt x="49" y="719"/>
                  </a:moveTo>
                  <a:cubicBezTo>
                    <a:pt x="50" y="719"/>
                    <a:pt x="51" y="716"/>
                    <a:pt x="50" y="711"/>
                  </a:cubicBezTo>
                  <a:cubicBezTo>
                    <a:pt x="49" y="707"/>
                    <a:pt x="46" y="702"/>
                    <a:pt x="44" y="702"/>
                  </a:cubicBezTo>
                  <a:cubicBezTo>
                    <a:pt x="41" y="704"/>
                    <a:pt x="47" y="718"/>
                    <a:pt x="49" y="719"/>
                  </a:cubicBezTo>
                  <a:close/>
                  <a:moveTo>
                    <a:pt x="1025" y="366"/>
                  </a:moveTo>
                  <a:cubicBezTo>
                    <a:pt x="1028" y="368"/>
                    <a:pt x="1030" y="365"/>
                    <a:pt x="1028" y="359"/>
                  </a:cubicBezTo>
                  <a:cubicBezTo>
                    <a:pt x="1027" y="356"/>
                    <a:pt x="1024" y="350"/>
                    <a:pt x="1021" y="351"/>
                  </a:cubicBezTo>
                  <a:cubicBezTo>
                    <a:pt x="1017" y="352"/>
                    <a:pt x="1021" y="364"/>
                    <a:pt x="1025" y="366"/>
                  </a:cubicBezTo>
                  <a:close/>
                  <a:moveTo>
                    <a:pt x="43" y="698"/>
                  </a:moveTo>
                  <a:cubicBezTo>
                    <a:pt x="45" y="698"/>
                    <a:pt x="45" y="695"/>
                    <a:pt x="44" y="690"/>
                  </a:cubicBezTo>
                  <a:cubicBezTo>
                    <a:pt x="43" y="686"/>
                    <a:pt x="41" y="681"/>
                    <a:pt x="39" y="681"/>
                  </a:cubicBezTo>
                  <a:cubicBezTo>
                    <a:pt x="36" y="683"/>
                    <a:pt x="41" y="697"/>
                    <a:pt x="43" y="698"/>
                  </a:cubicBezTo>
                  <a:close/>
                  <a:moveTo>
                    <a:pt x="46" y="676"/>
                  </a:moveTo>
                  <a:cubicBezTo>
                    <a:pt x="47" y="677"/>
                    <a:pt x="48" y="673"/>
                    <a:pt x="47" y="669"/>
                  </a:cubicBezTo>
                  <a:cubicBezTo>
                    <a:pt x="46" y="664"/>
                    <a:pt x="44" y="659"/>
                    <a:pt x="42" y="659"/>
                  </a:cubicBezTo>
                  <a:cubicBezTo>
                    <a:pt x="38" y="661"/>
                    <a:pt x="43" y="676"/>
                    <a:pt x="46" y="676"/>
                  </a:cubicBezTo>
                  <a:close/>
                  <a:moveTo>
                    <a:pt x="51" y="698"/>
                  </a:moveTo>
                  <a:cubicBezTo>
                    <a:pt x="52" y="698"/>
                    <a:pt x="53" y="695"/>
                    <a:pt x="52" y="690"/>
                  </a:cubicBezTo>
                  <a:cubicBezTo>
                    <a:pt x="51" y="686"/>
                    <a:pt x="49" y="681"/>
                    <a:pt x="47" y="681"/>
                  </a:cubicBezTo>
                  <a:cubicBezTo>
                    <a:pt x="43" y="683"/>
                    <a:pt x="48" y="697"/>
                    <a:pt x="51" y="698"/>
                  </a:cubicBezTo>
                  <a:close/>
                  <a:moveTo>
                    <a:pt x="69" y="311"/>
                  </a:moveTo>
                  <a:cubicBezTo>
                    <a:pt x="66" y="312"/>
                    <a:pt x="61" y="326"/>
                    <a:pt x="62" y="326"/>
                  </a:cubicBezTo>
                  <a:cubicBezTo>
                    <a:pt x="63" y="327"/>
                    <a:pt x="66" y="324"/>
                    <a:pt x="68" y="319"/>
                  </a:cubicBezTo>
                  <a:cubicBezTo>
                    <a:pt x="69" y="316"/>
                    <a:pt x="71" y="310"/>
                    <a:pt x="69" y="311"/>
                  </a:cubicBezTo>
                  <a:close/>
                  <a:moveTo>
                    <a:pt x="91" y="702"/>
                  </a:moveTo>
                  <a:cubicBezTo>
                    <a:pt x="87" y="704"/>
                    <a:pt x="90" y="716"/>
                    <a:pt x="95" y="718"/>
                  </a:cubicBezTo>
                  <a:cubicBezTo>
                    <a:pt x="98" y="720"/>
                    <a:pt x="99" y="717"/>
                    <a:pt x="98" y="711"/>
                  </a:cubicBezTo>
                  <a:cubicBezTo>
                    <a:pt x="97" y="707"/>
                    <a:pt x="95" y="702"/>
                    <a:pt x="91" y="702"/>
                  </a:cubicBezTo>
                  <a:close/>
                  <a:moveTo>
                    <a:pt x="80" y="702"/>
                  </a:moveTo>
                  <a:cubicBezTo>
                    <a:pt x="76" y="704"/>
                    <a:pt x="80" y="717"/>
                    <a:pt x="84" y="719"/>
                  </a:cubicBezTo>
                  <a:cubicBezTo>
                    <a:pt x="87" y="720"/>
                    <a:pt x="88" y="716"/>
                    <a:pt x="87" y="711"/>
                  </a:cubicBezTo>
                  <a:cubicBezTo>
                    <a:pt x="86" y="707"/>
                    <a:pt x="83" y="702"/>
                    <a:pt x="80" y="702"/>
                  </a:cubicBezTo>
                  <a:close/>
                  <a:moveTo>
                    <a:pt x="99" y="681"/>
                  </a:moveTo>
                  <a:cubicBezTo>
                    <a:pt x="94" y="682"/>
                    <a:pt x="97" y="695"/>
                    <a:pt x="102" y="697"/>
                  </a:cubicBezTo>
                  <a:cubicBezTo>
                    <a:pt x="105" y="699"/>
                    <a:pt x="107" y="695"/>
                    <a:pt x="106" y="690"/>
                  </a:cubicBezTo>
                  <a:cubicBezTo>
                    <a:pt x="105" y="686"/>
                    <a:pt x="102" y="681"/>
                    <a:pt x="99" y="681"/>
                  </a:cubicBezTo>
                  <a:close/>
                  <a:moveTo>
                    <a:pt x="87" y="681"/>
                  </a:moveTo>
                  <a:cubicBezTo>
                    <a:pt x="82" y="682"/>
                    <a:pt x="85" y="695"/>
                    <a:pt x="89" y="697"/>
                  </a:cubicBezTo>
                  <a:cubicBezTo>
                    <a:pt x="92" y="699"/>
                    <a:pt x="94" y="696"/>
                    <a:pt x="93" y="690"/>
                  </a:cubicBezTo>
                  <a:cubicBezTo>
                    <a:pt x="92" y="686"/>
                    <a:pt x="90" y="681"/>
                    <a:pt x="87" y="681"/>
                  </a:cubicBezTo>
                  <a:close/>
                  <a:moveTo>
                    <a:pt x="10" y="637"/>
                  </a:moveTo>
                  <a:cubicBezTo>
                    <a:pt x="10" y="637"/>
                    <a:pt x="10" y="637"/>
                    <a:pt x="10" y="637"/>
                  </a:cubicBezTo>
                  <a:cubicBezTo>
                    <a:pt x="9" y="639"/>
                    <a:pt x="12" y="654"/>
                    <a:pt x="13" y="655"/>
                  </a:cubicBezTo>
                  <a:cubicBezTo>
                    <a:pt x="14" y="654"/>
                    <a:pt x="13" y="650"/>
                    <a:pt x="13" y="647"/>
                  </a:cubicBezTo>
                  <a:cubicBezTo>
                    <a:pt x="12" y="643"/>
                    <a:pt x="11" y="638"/>
                    <a:pt x="10" y="637"/>
                  </a:cubicBezTo>
                  <a:close/>
                  <a:moveTo>
                    <a:pt x="89" y="669"/>
                  </a:moveTo>
                  <a:cubicBezTo>
                    <a:pt x="88" y="664"/>
                    <a:pt x="86" y="659"/>
                    <a:pt x="82" y="659"/>
                  </a:cubicBezTo>
                  <a:cubicBezTo>
                    <a:pt x="78" y="661"/>
                    <a:pt x="80" y="673"/>
                    <a:pt x="85" y="676"/>
                  </a:cubicBezTo>
                  <a:cubicBezTo>
                    <a:pt x="88" y="678"/>
                    <a:pt x="89" y="674"/>
                    <a:pt x="89" y="669"/>
                  </a:cubicBezTo>
                  <a:close/>
                  <a:moveTo>
                    <a:pt x="75" y="311"/>
                  </a:moveTo>
                  <a:cubicBezTo>
                    <a:pt x="71" y="312"/>
                    <a:pt x="67" y="326"/>
                    <a:pt x="69" y="326"/>
                  </a:cubicBezTo>
                  <a:cubicBezTo>
                    <a:pt x="70" y="327"/>
                    <a:pt x="72" y="324"/>
                    <a:pt x="74" y="319"/>
                  </a:cubicBezTo>
                  <a:cubicBezTo>
                    <a:pt x="76" y="316"/>
                    <a:pt x="77" y="310"/>
                    <a:pt x="75" y="311"/>
                  </a:cubicBezTo>
                  <a:close/>
                  <a:moveTo>
                    <a:pt x="81" y="654"/>
                  </a:moveTo>
                  <a:cubicBezTo>
                    <a:pt x="84" y="656"/>
                    <a:pt x="86" y="652"/>
                    <a:pt x="85" y="647"/>
                  </a:cubicBezTo>
                  <a:cubicBezTo>
                    <a:pt x="85" y="643"/>
                    <a:pt x="82" y="637"/>
                    <a:pt x="79" y="637"/>
                  </a:cubicBezTo>
                  <a:cubicBezTo>
                    <a:pt x="74" y="639"/>
                    <a:pt x="77" y="652"/>
                    <a:pt x="81" y="654"/>
                  </a:cubicBezTo>
                  <a:close/>
                  <a:moveTo>
                    <a:pt x="57" y="637"/>
                  </a:moveTo>
                  <a:cubicBezTo>
                    <a:pt x="53" y="639"/>
                    <a:pt x="56" y="653"/>
                    <a:pt x="59" y="654"/>
                  </a:cubicBezTo>
                  <a:cubicBezTo>
                    <a:pt x="61" y="655"/>
                    <a:pt x="63" y="652"/>
                    <a:pt x="62" y="647"/>
                  </a:cubicBezTo>
                  <a:cubicBezTo>
                    <a:pt x="62" y="643"/>
                    <a:pt x="60" y="637"/>
                    <a:pt x="57" y="637"/>
                  </a:cubicBezTo>
                  <a:close/>
                  <a:moveTo>
                    <a:pt x="75" y="681"/>
                  </a:moveTo>
                  <a:cubicBezTo>
                    <a:pt x="71" y="683"/>
                    <a:pt x="75" y="696"/>
                    <a:pt x="79" y="698"/>
                  </a:cubicBezTo>
                  <a:cubicBezTo>
                    <a:pt x="81" y="699"/>
                    <a:pt x="82" y="695"/>
                    <a:pt x="81" y="690"/>
                  </a:cubicBezTo>
                  <a:cubicBezTo>
                    <a:pt x="81" y="686"/>
                    <a:pt x="78" y="681"/>
                    <a:pt x="75" y="681"/>
                  </a:cubicBezTo>
                  <a:close/>
                  <a:moveTo>
                    <a:pt x="38" y="633"/>
                  </a:moveTo>
                  <a:cubicBezTo>
                    <a:pt x="39" y="633"/>
                    <a:pt x="40" y="630"/>
                    <a:pt x="40" y="625"/>
                  </a:cubicBezTo>
                  <a:cubicBezTo>
                    <a:pt x="40" y="620"/>
                    <a:pt x="38" y="615"/>
                    <a:pt x="36" y="615"/>
                  </a:cubicBezTo>
                  <a:cubicBezTo>
                    <a:pt x="32" y="617"/>
                    <a:pt x="35" y="632"/>
                    <a:pt x="38" y="633"/>
                  </a:cubicBezTo>
                  <a:close/>
                  <a:moveTo>
                    <a:pt x="57" y="326"/>
                  </a:moveTo>
                  <a:cubicBezTo>
                    <a:pt x="58" y="327"/>
                    <a:pt x="60" y="324"/>
                    <a:pt x="62" y="319"/>
                  </a:cubicBezTo>
                  <a:cubicBezTo>
                    <a:pt x="64" y="316"/>
                    <a:pt x="65" y="310"/>
                    <a:pt x="64" y="311"/>
                  </a:cubicBezTo>
                  <a:cubicBezTo>
                    <a:pt x="61" y="312"/>
                    <a:pt x="56" y="326"/>
                    <a:pt x="57" y="326"/>
                  </a:cubicBezTo>
                  <a:close/>
                  <a:moveTo>
                    <a:pt x="70" y="702"/>
                  </a:moveTo>
                  <a:cubicBezTo>
                    <a:pt x="66" y="704"/>
                    <a:pt x="70" y="717"/>
                    <a:pt x="74" y="719"/>
                  </a:cubicBezTo>
                  <a:cubicBezTo>
                    <a:pt x="76" y="720"/>
                    <a:pt x="77" y="716"/>
                    <a:pt x="76" y="711"/>
                  </a:cubicBezTo>
                  <a:cubicBezTo>
                    <a:pt x="75" y="707"/>
                    <a:pt x="72" y="702"/>
                    <a:pt x="70" y="702"/>
                  </a:cubicBezTo>
                  <a:close/>
                  <a:moveTo>
                    <a:pt x="1021" y="339"/>
                  </a:moveTo>
                  <a:cubicBezTo>
                    <a:pt x="1020" y="335"/>
                    <a:pt x="1017" y="330"/>
                    <a:pt x="1014" y="330"/>
                  </a:cubicBezTo>
                  <a:cubicBezTo>
                    <a:pt x="1010" y="332"/>
                    <a:pt x="1015" y="344"/>
                    <a:pt x="1019" y="346"/>
                  </a:cubicBezTo>
                  <a:cubicBezTo>
                    <a:pt x="1022" y="347"/>
                    <a:pt x="1023" y="344"/>
                    <a:pt x="1021" y="339"/>
                  </a:cubicBezTo>
                  <a:close/>
                  <a:moveTo>
                    <a:pt x="1014" y="366"/>
                  </a:moveTo>
                  <a:cubicBezTo>
                    <a:pt x="1017" y="368"/>
                    <a:pt x="1018" y="365"/>
                    <a:pt x="1017" y="359"/>
                  </a:cubicBezTo>
                  <a:cubicBezTo>
                    <a:pt x="1016" y="356"/>
                    <a:pt x="1013" y="350"/>
                    <a:pt x="1010" y="351"/>
                  </a:cubicBezTo>
                  <a:cubicBezTo>
                    <a:pt x="1005" y="352"/>
                    <a:pt x="1009" y="364"/>
                    <a:pt x="1014" y="366"/>
                  </a:cubicBezTo>
                  <a:close/>
                  <a:moveTo>
                    <a:pt x="60" y="311"/>
                  </a:moveTo>
                  <a:cubicBezTo>
                    <a:pt x="57" y="313"/>
                    <a:pt x="52" y="326"/>
                    <a:pt x="53" y="326"/>
                  </a:cubicBezTo>
                  <a:cubicBezTo>
                    <a:pt x="54" y="326"/>
                    <a:pt x="56" y="323"/>
                    <a:pt x="57" y="319"/>
                  </a:cubicBezTo>
                  <a:cubicBezTo>
                    <a:pt x="59" y="316"/>
                    <a:pt x="61" y="310"/>
                    <a:pt x="60" y="311"/>
                  </a:cubicBezTo>
                  <a:close/>
                  <a:moveTo>
                    <a:pt x="1007" y="346"/>
                  </a:moveTo>
                  <a:cubicBezTo>
                    <a:pt x="1010" y="347"/>
                    <a:pt x="1012" y="344"/>
                    <a:pt x="1010" y="339"/>
                  </a:cubicBezTo>
                  <a:cubicBezTo>
                    <a:pt x="1009" y="335"/>
                    <a:pt x="1006" y="330"/>
                    <a:pt x="1003" y="330"/>
                  </a:cubicBezTo>
                  <a:cubicBezTo>
                    <a:pt x="998" y="332"/>
                    <a:pt x="1003" y="344"/>
                    <a:pt x="1007" y="346"/>
                  </a:cubicBezTo>
                  <a:close/>
                  <a:moveTo>
                    <a:pt x="38" y="676"/>
                  </a:moveTo>
                  <a:cubicBezTo>
                    <a:pt x="39" y="677"/>
                    <a:pt x="40" y="673"/>
                    <a:pt x="39" y="669"/>
                  </a:cubicBezTo>
                  <a:cubicBezTo>
                    <a:pt x="38" y="664"/>
                    <a:pt x="36" y="659"/>
                    <a:pt x="34" y="659"/>
                  </a:cubicBezTo>
                  <a:cubicBezTo>
                    <a:pt x="31" y="661"/>
                    <a:pt x="36" y="676"/>
                    <a:pt x="38" y="676"/>
                  </a:cubicBezTo>
                  <a:close/>
                  <a:moveTo>
                    <a:pt x="1001" y="366"/>
                  </a:moveTo>
                  <a:cubicBezTo>
                    <a:pt x="1004" y="368"/>
                    <a:pt x="1006" y="365"/>
                    <a:pt x="1005" y="359"/>
                  </a:cubicBezTo>
                  <a:cubicBezTo>
                    <a:pt x="1004" y="356"/>
                    <a:pt x="1001" y="350"/>
                    <a:pt x="997" y="351"/>
                  </a:cubicBezTo>
                  <a:cubicBezTo>
                    <a:pt x="992" y="352"/>
                    <a:pt x="996" y="364"/>
                    <a:pt x="1001" y="366"/>
                  </a:cubicBezTo>
                  <a:close/>
                  <a:moveTo>
                    <a:pt x="40" y="351"/>
                  </a:moveTo>
                  <a:cubicBezTo>
                    <a:pt x="38" y="352"/>
                    <a:pt x="33" y="366"/>
                    <a:pt x="34" y="367"/>
                  </a:cubicBezTo>
                  <a:cubicBezTo>
                    <a:pt x="35" y="366"/>
                    <a:pt x="37" y="362"/>
                    <a:pt x="38" y="359"/>
                  </a:cubicBezTo>
                  <a:cubicBezTo>
                    <a:pt x="39" y="356"/>
                    <a:pt x="40" y="351"/>
                    <a:pt x="40" y="351"/>
                  </a:cubicBezTo>
                  <a:cubicBezTo>
                    <a:pt x="40" y="351"/>
                    <a:pt x="40" y="351"/>
                    <a:pt x="40" y="351"/>
                  </a:cubicBezTo>
                  <a:close/>
                  <a:moveTo>
                    <a:pt x="31" y="388"/>
                  </a:moveTo>
                  <a:cubicBezTo>
                    <a:pt x="31" y="388"/>
                    <a:pt x="33" y="384"/>
                    <a:pt x="34" y="380"/>
                  </a:cubicBezTo>
                  <a:cubicBezTo>
                    <a:pt x="36" y="376"/>
                    <a:pt x="37" y="371"/>
                    <a:pt x="36" y="371"/>
                  </a:cubicBezTo>
                  <a:cubicBezTo>
                    <a:pt x="35" y="372"/>
                    <a:pt x="33" y="375"/>
                    <a:pt x="32" y="380"/>
                  </a:cubicBezTo>
                  <a:cubicBezTo>
                    <a:pt x="31" y="383"/>
                    <a:pt x="30" y="388"/>
                    <a:pt x="31" y="388"/>
                  </a:cubicBezTo>
                  <a:close/>
                  <a:moveTo>
                    <a:pt x="32" y="371"/>
                  </a:moveTo>
                  <a:cubicBezTo>
                    <a:pt x="31" y="373"/>
                    <a:pt x="26" y="387"/>
                    <a:pt x="27" y="388"/>
                  </a:cubicBezTo>
                  <a:cubicBezTo>
                    <a:pt x="28" y="387"/>
                    <a:pt x="30" y="383"/>
                    <a:pt x="31" y="380"/>
                  </a:cubicBezTo>
                  <a:cubicBezTo>
                    <a:pt x="32" y="377"/>
                    <a:pt x="33" y="371"/>
                    <a:pt x="33" y="371"/>
                  </a:cubicBezTo>
                  <a:cubicBezTo>
                    <a:pt x="32" y="371"/>
                    <a:pt x="32" y="371"/>
                    <a:pt x="32" y="371"/>
                  </a:cubicBezTo>
                  <a:close/>
                  <a:moveTo>
                    <a:pt x="34" y="655"/>
                  </a:moveTo>
                  <a:cubicBezTo>
                    <a:pt x="35" y="655"/>
                    <a:pt x="36" y="652"/>
                    <a:pt x="35" y="647"/>
                  </a:cubicBezTo>
                  <a:cubicBezTo>
                    <a:pt x="35" y="643"/>
                    <a:pt x="33" y="637"/>
                    <a:pt x="31" y="637"/>
                  </a:cubicBezTo>
                  <a:cubicBezTo>
                    <a:pt x="27" y="639"/>
                    <a:pt x="31" y="654"/>
                    <a:pt x="34" y="655"/>
                  </a:cubicBezTo>
                  <a:close/>
                  <a:moveTo>
                    <a:pt x="57" y="311"/>
                  </a:moveTo>
                  <a:cubicBezTo>
                    <a:pt x="55" y="312"/>
                    <a:pt x="49" y="326"/>
                    <a:pt x="50" y="326"/>
                  </a:cubicBezTo>
                  <a:cubicBezTo>
                    <a:pt x="50" y="326"/>
                    <a:pt x="53" y="322"/>
                    <a:pt x="54" y="319"/>
                  </a:cubicBezTo>
                  <a:cubicBezTo>
                    <a:pt x="55" y="316"/>
                    <a:pt x="57" y="311"/>
                    <a:pt x="57" y="311"/>
                  </a:cubicBezTo>
                  <a:cubicBezTo>
                    <a:pt x="57" y="311"/>
                    <a:pt x="57" y="311"/>
                    <a:pt x="57" y="311"/>
                  </a:cubicBezTo>
                  <a:close/>
                  <a:moveTo>
                    <a:pt x="45" y="346"/>
                  </a:moveTo>
                  <a:cubicBezTo>
                    <a:pt x="45" y="346"/>
                    <a:pt x="47" y="343"/>
                    <a:pt x="49" y="339"/>
                  </a:cubicBezTo>
                  <a:cubicBezTo>
                    <a:pt x="51" y="335"/>
                    <a:pt x="52" y="330"/>
                    <a:pt x="51" y="330"/>
                  </a:cubicBezTo>
                  <a:cubicBezTo>
                    <a:pt x="48" y="332"/>
                    <a:pt x="44" y="346"/>
                    <a:pt x="45" y="346"/>
                  </a:cubicBezTo>
                  <a:close/>
                  <a:moveTo>
                    <a:pt x="48" y="330"/>
                  </a:moveTo>
                  <a:cubicBezTo>
                    <a:pt x="46" y="332"/>
                    <a:pt x="40" y="346"/>
                    <a:pt x="41" y="346"/>
                  </a:cubicBezTo>
                  <a:cubicBezTo>
                    <a:pt x="42" y="346"/>
                    <a:pt x="44" y="342"/>
                    <a:pt x="45" y="339"/>
                  </a:cubicBezTo>
                  <a:cubicBezTo>
                    <a:pt x="47" y="336"/>
                    <a:pt x="48" y="331"/>
                    <a:pt x="48" y="330"/>
                  </a:cubicBezTo>
                  <a:cubicBezTo>
                    <a:pt x="48" y="330"/>
                    <a:pt x="48" y="330"/>
                    <a:pt x="48" y="330"/>
                  </a:cubicBezTo>
                  <a:close/>
                  <a:moveTo>
                    <a:pt x="37" y="367"/>
                  </a:moveTo>
                  <a:cubicBezTo>
                    <a:pt x="38" y="367"/>
                    <a:pt x="40" y="364"/>
                    <a:pt x="41" y="359"/>
                  </a:cubicBezTo>
                  <a:cubicBezTo>
                    <a:pt x="43" y="356"/>
                    <a:pt x="44" y="350"/>
                    <a:pt x="43" y="351"/>
                  </a:cubicBezTo>
                  <a:cubicBezTo>
                    <a:pt x="42" y="351"/>
                    <a:pt x="40" y="355"/>
                    <a:pt x="39" y="359"/>
                  </a:cubicBezTo>
                  <a:cubicBezTo>
                    <a:pt x="38" y="363"/>
                    <a:pt x="37" y="367"/>
                    <a:pt x="37" y="367"/>
                  </a:cubicBezTo>
                  <a:close/>
                  <a:moveTo>
                    <a:pt x="1024" y="408"/>
                  </a:moveTo>
                  <a:cubicBezTo>
                    <a:pt x="1027" y="410"/>
                    <a:pt x="1029" y="406"/>
                    <a:pt x="1028" y="401"/>
                  </a:cubicBezTo>
                  <a:cubicBezTo>
                    <a:pt x="1028" y="397"/>
                    <a:pt x="1025" y="392"/>
                    <a:pt x="1021" y="392"/>
                  </a:cubicBezTo>
                  <a:cubicBezTo>
                    <a:pt x="1017" y="394"/>
                    <a:pt x="1020" y="406"/>
                    <a:pt x="1024" y="408"/>
                  </a:cubicBezTo>
                  <a:close/>
                  <a:moveTo>
                    <a:pt x="1085" y="547"/>
                  </a:moveTo>
                  <a:cubicBezTo>
                    <a:pt x="1080" y="549"/>
                    <a:pt x="1082" y="564"/>
                    <a:pt x="1085" y="565"/>
                  </a:cubicBezTo>
                  <a:cubicBezTo>
                    <a:pt x="1086" y="565"/>
                    <a:pt x="1088" y="562"/>
                    <a:pt x="1088" y="557"/>
                  </a:cubicBezTo>
                  <a:cubicBezTo>
                    <a:pt x="1088" y="552"/>
                    <a:pt x="1087" y="546"/>
                    <a:pt x="1085" y="547"/>
                  </a:cubicBezTo>
                  <a:close/>
                  <a:moveTo>
                    <a:pt x="1091" y="496"/>
                  </a:moveTo>
                  <a:cubicBezTo>
                    <a:pt x="1093" y="497"/>
                    <a:pt x="1094" y="493"/>
                    <a:pt x="1093" y="489"/>
                  </a:cubicBezTo>
                  <a:cubicBezTo>
                    <a:pt x="1093" y="484"/>
                    <a:pt x="1091" y="478"/>
                    <a:pt x="1089" y="479"/>
                  </a:cubicBezTo>
                  <a:cubicBezTo>
                    <a:pt x="1085" y="481"/>
                    <a:pt x="1088" y="496"/>
                    <a:pt x="1091" y="496"/>
                  </a:cubicBezTo>
                  <a:close/>
                  <a:moveTo>
                    <a:pt x="1084" y="588"/>
                  </a:moveTo>
                  <a:cubicBezTo>
                    <a:pt x="1085" y="588"/>
                    <a:pt x="1087" y="585"/>
                    <a:pt x="1087" y="580"/>
                  </a:cubicBezTo>
                  <a:cubicBezTo>
                    <a:pt x="1088" y="575"/>
                    <a:pt x="1087" y="569"/>
                    <a:pt x="1084" y="570"/>
                  </a:cubicBezTo>
                  <a:cubicBezTo>
                    <a:pt x="1082" y="571"/>
                    <a:pt x="1081" y="576"/>
                    <a:pt x="1081" y="579"/>
                  </a:cubicBezTo>
                  <a:cubicBezTo>
                    <a:pt x="1081" y="583"/>
                    <a:pt x="1082" y="587"/>
                    <a:pt x="1084" y="588"/>
                  </a:cubicBezTo>
                  <a:close/>
                  <a:moveTo>
                    <a:pt x="1096" y="474"/>
                  </a:moveTo>
                  <a:cubicBezTo>
                    <a:pt x="1097" y="475"/>
                    <a:pt x="1098" y="471"/>
                    <a:pt x="1098" y="466"/>
                  </a:cubicBezTo>
                  <a:cubicBezTo>
                    <a:pt x="1097" y="462"/>
                    <a:pt x="1095" y="456"/>
                    <a:pt x="1093" y="457"/>
                  </a:cubicBezTo>
                  <a:cubicBezTo>
                    <a:pt x="1090" y="459"/>
                    <a:pt x="1094" y="473"/>
                    <a:pt x="1096" y="474"/>
                  </a:cubicBezTo>
                  <a:close/>
                  <a:moveTo>
                    <a:pt x="1085" y="542"/>
                  </a:moveTo>
                  <a:cubicBezTo>
                    <a:pt x="1086" y="542"/>
                    <a:pt x="1088" y="539"/>
                    <a:pt x="1088" y="534"/>
                  </a:cubicBezTo>
                  <a:cubicBezTo>
                    <a:pt x="1088" y="529"/>
                    <a:pt x="1087" y="524"/>
                    <a:pt x="1084" y="524"/>
                  </a:cubicBezTo>
                  <a:cubicBezTo>
                    <a:pt x="1080" y="526"/>
                    <a:pt x="1082" y="541"/>
                    <a:pt x="1085" y="542"/>
                  </a:cubicBezTo>
                  <a:close/>
                  <a:moveTo>
                    <a:pt x="1098" y="711"/>
                  </a:moveTo>
                  <a:cubicBezTo>
                    <a:pt x="1099" y="708"/>
                    <a:pt x="1100" y="702"/>
                    <a:pt x="1100" y="702"/>
                  </a:cubicBezTo>
                  <a:cubicBezTo>
                    <a:pt x="1100" y="702"/>
                    <a:pt x="1100" y="702"/>
                    <a:pt x="1100" y="702"/>
                  </a:cubicBezTo>
                  <a:cubicBezTo>
                    <a:pt x="1098" y="704"/>
                    <a:pt x="1094" y="718"/>
                    <a:pt x="1095" y="719"/>
                  </a:cubicBezTo>
                  <a:cubicBezTo>
                    <a:pt x="1096" y="719"/>
                    <a:pt x="1097" y="714"/>
                    <a:pt x="1098" y="711"/>
                  </a:cubicBezTo>
                  <a:close/>
                  <a:moveTo>
                    <a:pt x="1098" y="496"/>
                  </a:moveTo>
                  <a:cubicBezTo>
                    <a:pt x="1100" y="497"/>
                    <a:pt x="1101" y="493"/>
                    <a:pt x="1100" y="489"/>
                  </a:cubicBezTo>
                  <a:cubicBezTo>
                    <a:pt x="1100" y="484"/>
                    <a:pt x="1098" y="478"/>
                    <a:pt x="1097" y="479"/>
                  </a:cubicBezTo>
                  <a:cubicBezTo>
                    <a:pt x="1093" y="481"/>
                    <a:pt x="1096" y="496"/>
                    <a:pt x="1098" y="496"/>
                  </a:cubicBezTo>
                  <a:close/>
                  <a:moveTo>
                    <a:pt x="1093" y="565"/>
                  </a:moveTo>
                  <a:cubicBezTo>
                    <a:pt x="1095" y="565"/>
                    <a:pt x="1096" y="562"/>
                    <a:pt x="1096" y="557"/>
                  </a:cubicBezTo>
                  <a:cubicBezTo>
                    <a:pt x="1096" y="552"/>
                    <a:pt x="1096" y="546"/>
                    <a:pt x="1093" y="547"/>
                  </a:cubicBezTo>
                  <a:cubicBezTo>
                    <a:pt x="1089" y="549"/>
                    <a:pt x="1091" y="564"/>
                    <a:pt x="1093" y="565"/>
                  </a:cubicBezTo>
                  <a:close/>
                  <a:moveTo>
                    <a:pt x="1093" y="524"/>
                  </a:moveTo>
                  <a:cubicBezTo>
                    <a:pt x="1089" y="526"/>
                    <a:pt x="1091" y="541"/>
                    <a:pt x="1093" y="542"/>
                  </a:cubicBezTo>
                  <a:cubicBezTo>
                    <a:pt x="1095" y="542"/>
                    <a:pt x="1096" y="539"/>
                    <a:pt x="1096" y="534"/>
                  </a:cubicBezTo>
                  <a:cubicBezTo>
                    <a:pt x="1096" y="529"/>
                    <a:pt x="1095" y="524"/>
                    <a:pt x="1093" y="524"/>
                  </a:cubicBezTo>
                  <a:close/>
                  <a:moveTo>
                    <a:pt x="1075" y="570"/>
                  </a:moveTo>
                  <a:cubicBezTo>
                    <a:pt x="1070" y="572"/>
                    <a:pt x="1070" y="586"/>
                    <a:pt x="1074" y="588"/>
                  </a:cubicBezTo>
                  <a:cubicBezTo>
                    <a:pt x="1076" y="589"/>
                    <a:pt x="1078" y="585"/>
                    <a:pt x="1078" y="580"/>
                  </a:cubicBezTo>
                  <a:cubicBezTo>
                    <a:pt x="1079" y="575"/>
                    <a:pt x="1078" y="569"/>
                    <a:pt x="1075" y="570"/>
                  </a:cubicBezTo>
                  <a:close/>
                  <a:moveTo>
                    <a:pt x="1063" y="588"/>
                  </a:moveTo>
                  <a:cubicBezTo>
                    <a:pt x="1065" y="589"/>
                    <a:pt x="1068" y="585"/>
                    <a:pt x="1068" y="580"/>
                  </a:cubicBezTo>
                  <a:cubicBezTo>
                    <a:pt x="1068" y="575"/>
                    <a:pt x="1067" y="569"/>
                    <a:pt x="1064" y="570"/>
                  </a:cubicBezTo>
                  <a:cubicBezTo>
                    <a:pt x="1059" y="572"/>
                    <a:pt x="1059" y="586"/>
                    <a:pt x="1063" y="588"/>
                  </a:cubicBezTo>
                  <a:close/>
                  <a:moveTo>
                    <a:pt x="1072" y="615"/>
                  </a:moveTo>
                  <a:cubicBezTo>
                    <a:pt x="1067" y="617"/>
                    <a:pt x="1066" y="631"/>
                    <a:pt x="1069" y="632"/>
                  </a:cubicBezTo>
                  <a:cubicBezTo>
                    <a:pt x="1071" y="633"/>
                    <a:pt x="1074" y="630"/>
                    <a:pt x="1074" y="625"/>
                  </a:cubicBezTo>
                  <a:cubicBezTo>
                    <a:pt x="1075" y="620"/>
                    <a:pt x="1074" y="615"/>
                    <a:pt x="1072" y="615"/>
                  </a:cubicBezTo>
                  <a:close/>
                  <a:moveTo>
                    <a:pt x="1084" y="519"/>
                  </a:moveTo>
                  <a:cubicBezTo>
                    <a:pt x="1086" y="520"/>
                    <a:pt x="1087" y="516"/>
                    <a:pt x="1087" y="511"/>
                  </a:cubicBezTo>
                  <a:cubicBezTo>
                    <a:pt x="1087" y="507"/>
                    <a:pt x="1085" y="501"/>
                    <a:pt x="1083" y="501"/>
                  </a:cubicBezTo>
                  <a:cubicBezTo>
                    <a:pt x="1078" y="503"/>
                    <a:pt x="1081" y="518"/>
                    <a:pt x="1084" y="519"/>
                  </a:cubicBezTo>
                  <a:close/>
                  <a:moveTo>
                    <a:pt x="1063" y="501"/>
                  </a:moveTo>
                  <a:cubicBezTo>
                    <a:pt x="1058" y="503"/>
                    <a:pt x="1060" y="517"/>
                    <a:pt x="1063" y="519"/>
                  </a:cubicBezTo>
                  <a:cubicBezTo>
                    <a:pt x="1066" y="520"/>
                    <a:pt x="1068" y="516"/>
                    <a:pt x="1067" y="511"/>
                  </a:cubicBezTo>
                  <a:cubicBezTo>
                    <a:pt x="1067" y="507"/>
                    <a:pt x="1066" y="501"/>
                    <a:pt x="1063" y="501"/>
                  </a:cubicBezTo>
                  <a:close/>
                  <a:moveTo>
                    <a:pt x="1069" y="637"/>
                  </a:moveTo>
                  <a:cubicBezTo>
                    <a:pt x="1064" y="639"/>
                    <a:pt x="1063" y="653"/>
                    <a:pt x="1066" y="654"/>
                  </a:cubicBezTo>
                  <a:cubicBezTo>
                    <a:pt x="1068" y="655"/>
                    <a:pt x="1070" y="652"/>
                    <a:pt x="1071" y="647"/>
                  </a:cubicBezTo>
                  <a:cubicBezTo>
                    <a:pt x="1072" y="643"/>
                    <a:pt x="1072" y="637"/>
                    <a:pt x="1069" y="637"/>
                  </a:cubicBezTo>
                  <a:close/>
                  <a:moveTo>
                    <a:pt x="1082" y="496"/>
                  </a:moveTo>
                  <a:cubicBezTo>
                    <a:pt x="1084" y="497"/>
                    <a:pt x="1085" y="493"/>
                    <a:pt x="1085" y="489"/>
                  </a:cubicBezTo>
                  <a:cubicBezTo>
                    <a:pt x="1085" y="484"/>
                    <a:pt x="1083" y="478"/>
                    <a:pt x="1081" y="479"/>
                  </a:cubicBezTo>
                  <a:cubicBezTo>
                    <a:pt x="1076" y="481"/>
                    <a:pt x="1079" y="496"/>
                    <a:pt x="1082" y="496"/>
                  </a:cubicBezTo>
                  <a:close/>
                  <a:moveTo>
                    <a:pt x="1075" y="547"/>
                  </a:moveTo>
                  <a:cubicBezTo>
                    <a:pt x="1070" y="549"/>
                    <a:pt x="1071" y="563"/>
                    <a:pt x="1075" y="565"/>
                  </a:cubicBezTo>
                  <a:cubicBezTo>
                    <a:pt x="1077" y="566"/>
                    <a:pt x="1079" y="562"/>
                    <a:pt x="1079" y="557"/>
                  </a:cubicBezTo>
                  <a:cubicBezTo>
                    <a:pt x="1079" y="552"/>
                    <a:pt x="1078" y="546"/>
                    <a:pt x="1075" y="547"/>
                  </a:cubicBezTo>
                  <a:close/>
                  <a:moveTo>
                    <a:pt x="1102" y="511"/>
                  </a:moveTo>
                  <a:cubicBezTo>
                    <a:pt x="1102" y="507"/>
                    <a:pt x="1101" y="501"/>
                    <a:pt x="1099" y="501"/>
                  </a:cubicBezTo>
                  <a:cubicBezTo>
                    <a:pt x="1096" y="503"/>
                    <a:pt x="1098" y="518"/>
                    <a:pt x="1100" y="519"/>
                  </a:cubicBezTo>
                  <a:cubicBezTo>
                    <a:pt x="1101" y="520"/>
                    <a:pt x="1102" y="516"/>
                    <a:pt x="1102" y="511"/>
                  </a:cubicBezTo>
                  <a:close/>
                  <a:moveTo>
                    <a:pt x="1074" y="593"/>
                  </a:moveTo>
                  <a:cubicBezTo>
                    <a:pt x="1069" y="594"/>
                    <a:pt x="1069" y="608"/>
                    <a:pt x="1072" y="610"/>
                  </a:cubicBezTo>
                  <a:cubicBezTo>
                    <a:pt x="1074" y="611"/>
                    <a:pt x="1076" y="608"/>
                    <a:pt x="1077" y="602"/>
                  </a:cubicBezTo>
                  <a:cubicBezTo>
                    <a:pt x="1077" y="598"/>
                    <a:pt x="1076" y="592"/>
                    <a:pt x="1074" y="593"/>
                  </a:cubicBezTo>
                  <a:close/>
                  <a:moveTo>
                    <a:pt x="1104" y="698"/>
                  </a:moveTo>
                  <a:cubicBezTo>
                    <a:pt x="1104" y="698"/>
                    <a:pt x="1104" y="697"/>
                    <a:pt x="1105" y="695"/>
                  </a:cubicBezTo>
                  <a:cubicBezTo>
                    <a:pt x="1106" y="691"/>
                    <a:pt x="1107" y="687"/>
                    <a:pt x="1108" y="683"/>
                  </a:cubicBezTo>
                  <a:cubicBezTo>
                    <a:pt x="1108" y="683"/>
                    <a:pt x="1108" y="683"/>
                    <a:pt x="1108" y="683"/>
                  </a:cubicBezTo>
                  <a:cubicBezTo>
                    <a:pt x="1108" y="682"/>
                    <a:pt x="1108" y="681"/>
                    <a:pt x="1108" y="681"/>
                  </a:cubicBezTo>
                  <a:cubicBezTo>
                    <a:pt x="1108" y="681"/>
                    <a:pt x="1108" y="681"/>
                    <a:pt x="1108" y="681"/>
                  </a:cubicBezTo>
                  <a:cubicBezTo>
                    <a:pt x="1108" y="682"/>
                    <a:pt x="1104" y="696"/>
                    <a:pt x="1104" y="698"/>
                  </a:cubicBezTo>
                  <a:close/>
                  <a:moveTo>
                    <a:pt x="1117" y="542"/>
                  </a:moveTo>
                  <a:cubicBezTo>
                    <a:pt x="1118" y="542"/>
                    <a:pt x="1119" y="538"/>
                    <a:pt x="1118" y="534"/>
                  </a:cubicBezTo>
                  <a:cubicBezTo>
                    <a:pt x="1118" y="529"/>
                    <a:pt x="1118" y="524"/>
                    <a:pt x="1117" y="524"/>
                  </a:cubicBezTo>
                  <a:cubicBezTo>
                    <a:pt x="1115" y="526"/>
                    <a:pt x="1116" y="542"/>
                    <a:pt x="1117" y="542"/>
                  </a:cubicBezTo>
                  <a:close/>
                  <a:moveTo>
                    <a:pt x="1105" y="497"/>
                  </a:moveTo>
                  <a:cubicBezTo>
                    <a:pt x="1106" y="497"/>
                    <a:pt x="1107" y="493"/>
                    <a:pt x="1106" y="489"/>
                  </a:cubicBezTo>
                  <a:cubicBezTo>
                    <a:pt x="1106" y="484"/>
                    <a:pt x="1105" y="478"/>
                    <a:pt x="1103" y="479"/>
                  </a:cubicBezTo>
                  <a:cubicBezTo>
                    <a:pt x="1102" y="480"/>
                    <a:pt x="1102" y="483"/>
                    <a:pt x="1102" y="489"/>
                  </a:cubicBezTo>
                  <a:cubicBezTo>
                    <a:pt x="1103" y="492"/>
                    <a:pt x="1104" y="497"/>
                    <a:pt x="1105" y="497"/>
                  </a:cubicBezTo>
                  <a:close/>
                  <a:moveTo>
                    <a:pt x="1115" y="497"/>
                  </a:moveTo>
                  <a:cubicBezTo>
                    <a:pt x="1116" y="497"/>
                    <a:pt x="1116" y="493"/>
                    <a:pt x="1115" y="489"/>
                  </a:cubicBezTo>
                  <a:cubicBezTo>
                    <a:pt x="1115" y="484"/>
                    <a:pt x="1114" y="478"/>
                    <a:pt x="1113" y="479"/>
                  </a:cubicBezTo>
                  <a:cubicBezTo>
                    <a:pt x="1111" y="481"/>
                    <a:pt x="1114" y="497"/>
                    <a:pt x="1115" y="497"/>
                  </a:cubicBezTo>
                  <a:close/>
                  <a:moveTo>
                    <a:pt x="1115" y="457"/>
                  </a:moveTo>
                  <a:cubicBezTo>
                    <a:pt x="1115" y="457"/>
                    <a:pt x="1115" y="457"/>
                    <a:pt x="1115" y="457"/>
                  </a:cubicBezTo>
                  <a:cubicBezTo>
                    <a:pt x="1115" y="458"/>
                    <a:pt x="1117" y="472"/>
                    <a:pt x="1118" y="474"/>
                  </a:cubicBezTo>
                  <a:cubicBezTo>
                    <a:pt x="1118" y="474"/>
                    <a:pt x="1118" y="474"/>
                    <a:pt x="1118" y="474"/>
                  </a:cubicBezTo>
                  <a:cubicBezTo>
                    <a:pt x="1118" y="473"/>
                    <a:pt x="1117" y="467"/>
                    <a:pt x="1117" y="466"/>
                  </a:cubicBezTo>
                  <a:cubicBezTo>
                    <a:pt x="1116" y="463"/>
                    <a:pt x="1116" y="458"/>
                    <a:pt x="1115" y="457"/>
                  </a:cubicBezTo>
                  <a:close/>
                  <a:moveTo>
                    <a:pt x="1113" y="457"/>
                  </a:moveTo>
                  <a:cubicBezTo>
                    <a:pt x="1112" y="458"/>
                    <a:pt x="1114" y="474"/>
                    <a:pt x="1116" y="474"/>
                  </a:cubicBezTo>
                  <a:cubicBezTo>
                    <a:pt x="1116" y="474"/>
                    <a:pt x="1116" y="469"/>
                    <a:pt x="1115" y="466"/>
                  </a:cubicBezTo>
                  <a:cubicBezTo>
                    <a:pt x="1115" y="462"/>
                    <a:pt x="1114" y="457"/>
                    <a:pt x="1113" y="457"/>
                  </a:cubicBezTo>
                  <a:cubicBezTo>
                    <a:pt x="1113" y="457"/>
                    <a:pt x="1113" y="457"/>
                    <a:pt x="1113" y="457"/>
                  </a:cubicBezTo>
                  <a:close/>
                  <a:moveTo>
                    <a:pt x="1121" y="580"/>
                  </a:moveTo>
                  <a:cubicBezTo>
                    <a:pt x="1121" y="576"/>
                    <a:pt x="1121" y="570"/>
                    <a:pt x="1120" y="570"/>
                  </a:cubicBezTo>
                  <a:cubicBezTo>
                    <a:pt x="1120" y="570"/>
                    <a:pt x="1120" y="570"/>
                    <a:pt x="1120" y="570"/>
                  </a:cubicBezTo>
                  <a:cubicBezTo>
                    <a:pt x="1119" y="572"/>
                    <a:pt x="1118" y="587"/>
                    <a:pt x="1119" y="588"/>
                  </a:cubicBezTo>
                  <a:cubicBezTo>
                    <a:pt x="1120" y="587"/>
                    <a:pt x="1121" y="583"/>
                    <a:pt x="1121" y="580"/>
                  </a:cubicBezTo>
                  <a:close/>
                  <a:moveTo>
                    <a:pt x="1120" y="610"/>
                  </a:moveTo>
                  <a:cubicBezTo>
                    <a:pt x="1120" y="609"/>
                    <a:pt x="1121" y="603"/>
                    <a:pt x="1121" y="602"/>
                  </a:cubicBezTo>
                  <a:cubicBezTo>
                    <a:pt x="1121" y="599"/>
                    <a:pt x="1121" y="594"/>
                    <a:pt x="1121" y="593"/>
                  </a:cubicBezTo>
                  <a:cubicBezTo>
                    <a:pt x="1121" y="593"/>
                    <a:pt x="1121" y="593"/>
                    <a:pt x="1121" y="593"/>
                  </a:cubicBezTo>
                  <a:cubicBezTo>
                    <a:pt x="1120" y="594"/>
                    <a:pt x="1119" y="609"/>
                    <a:pt x="1119" y="610"/>
                  </a:cubicBezTo>
                  <a:cubicBezTo>
                    <a:pt x="1120" y="610"/>
                    <a:pt x="1120" y="610"/>
                    <a:pt x="1120" y="610"/>
                  </a:cubicBezTo>
                  <a:close/>
                  <a:moveTo>
                    <a:pt x="1117" y="565"/>
                  </a:moveTo>
                  <a:cubicBezTo>
                    <a:pt x="1118" y="565"/>
                    <a:pt x="1119" y="561"/>
                    <a:pt x="1119" y="557"/>
                  </a:cubicBezTo>
                  <a:cubicBezTo>
                    <a:pt x="1119" y="552"/>
                    <a:pt x="1118" y="546"/>
                    <a:pt x="1117" y="547"/>
                  </a:cubicBezTo>
                  <a:cubicBezTo>
                    <a:pt x="1115" y="549"/>
                    <a:pt x="1116" y="565"/>
                    <a:pt x="1117" y="565"/>
                  </a:cubicBezTo>
                  <a:close/>
                  <a:moveTo>
                    <a:pt x="1120" y="511"/>
                  </a:moveTo>
                  <a:cubicBezTo>
                    <a:pt x="1120" y="507"/>
                    <a:pt x="1119" y="502"/>
                    <a:pt x="1119" y="501"/>
                  </a:cubicBezTo>
                  <a:cubicBezTo>
                    <a:pt x="1119" y="501"/>
                    <a:pt x="1119" y="501"/>
                    <a:pt x="1118" y="501"/>
                  </a:cubicBezTo>
                  <a:cubicBezTo>
                    <a:pt x="1117" y="503"/>
                    <a:pt x="1119" y="519"/>
                    <a:pt x="1120" y="519"/>
                  </a:cubicBezTo>
                  <a:cubicBezTo>
                    <a:pt x="1120" y="519"/>
                    <a:pt x="1120" y="514"/>
                    <a:pt x="1120" y="511"/>
                  </a:cubicBezTo>
                  <a:close/>
                  <a:moveTo>
                    <a:pt x="1117" y="519"/>
                  </a:moveTo>
                  <a:cubicBezTo>
                    <a:pt x="1117" y="519"/>
                    <a:pt x="1118" y="516"/>
                    <a:pt x="1117" y="511"/>
                  </a:cubicBezTo>
                  <a:cubicBezTo>
                    <a:pt x="1117" y="507"/>
                    <a:pt x="1116" y="501"/>
                    <a:pt x="1115" y="501"/>
                  </a:cubicBezTo>
                  <a:cubicBezTo>
                    <a:pt x="1113" y="503"/>
                    <a:pt x="1116" y="519"/>
                    <a:pt x="1117" y="519"/>
                  </a:cubicBezTo>
                  <a:close/>
                  <a:moveTo>
                    <a:pt x="1112" y="474"/>
                  </a:moveTo>
                  <a:cubicBezTo>
                    <a:pt x="1113" y="474"/>
                    <a:pt x="1113" y="471"/>
                    <a:pt x="1113" y="466"/>
                  </a:cubicBezTo>
                  <a:cubicBezTo>
                    <a:pt x="1112" y="462"/>
                    <a:pt x="1111" y="456"/>
                    <a:pt x="1110" y="457"/>
                  </a:cubicBezTo>
                  <a:cubicBezTo>
                    <a:pt x="1108" y="459"/>
                    <a:pt x="1111" y="474"/>
                    <a:pt x="1112" y="474"/>
                  </a:cubicBezTo>
                  <a:close/>
                  <a:moveTo>
                    <a:pt x="1120" y="524"/>
                  </a:moveTo>
                  <a:cubicBezTo>
                    <a:pt x="1119" y="526"/>
                    <a:pt x="1119" y="541"/>
                    <a:pt x="1121" y="542"/>
                  </a:cubicBezTo>
                  <a:cubicBezTo>
                    <a:pt x="1121" y="542"/>
                    <a:pt x="1121" y="537"/>
                    <a:pt x="1121" y="534"/>
                  </a:cubicBezTo>
                  <a:cubicBezTo>
                    <a:pt x="1121" y="530"/>
                    <a:pt x="1121" y="524"/>
                    <a:pt x="1120" y="524"/>
                  </a:cubicBezTo>
                  <a:cubicBezTo>
                    <a:pt x="1120" y="524"/>
                    <a:pt x="1120" y="524"/>
                    <a:pt x="1120" y="524"/>
                  </a:cubicBezTo>
                  <a:close/>
                  <a:moveTo>
                    <a:pt x="1111" y="497"/>
                  </a:moveTo>
                  <a:cubicBezTo>
                    <a:pt x="1111" y="497"/>
                    <a:pt x="1112" y="493"/>
                    <a:pt x="1111" y="489"/>
                  </a:cubicBezTo>
                  <a:cubicBezTo>
                    <a:pt x="1111" y="484"/>
                    <a:pt x="1110" y="478"/>
                    <a:pt x="1109" y="479"/>
                  </a:cubicBezTo>
                  <a:cubicBezTo>
                    <a:pt x="1106" y="481"/>
                    <a:pt x="1109" y="497"/>
                    <a:pt x="1111" y="497"/>
                  </a:cubicBezTo>
                  <a:close/>
                  <a:moveTo>
                    <a:pt x="1108" y="474"/>
                  </a:moveTo>
                  <a:cubicBezTo>
                    <a:pt x="1109" y="474"/>
                    <a:pt x="1109" y="471"/>
                    <a:pt x="1109" y="466"/>
                  </a:cubicBezTo>
                  <a:cubicBezTo>
                    <a:pt x="1108" y="462"/>
                    <a:pt x="1107" y="456"/>
                    <a:pt x="1105" y="457"/>
                  </a:cubicBezTo>
                  <a:cubicBezTo>
                    <a:pt x="1103" y="459"/>
                    <a:pt x="1107" y="474"/>
                    <a:pt x="1108" y="474"/>
                  </a:cubicBezTo>
                  <a:close/>
                  <a:moveTo>
                    <a:pt x="1122" y="519"/>
                  </a:moveTo>
                  <a:cubicBezTo>
                    <a:pt x="1122" y="518"/>
                    <a:pt x="1122" y="512"/>
                    <a:pt x="1122" y="511"/>
                  </a:cubicBezTo>
                  <a:cubicBezTo>
                    <a:pt x="1122" y="508"/>
                    <a:pt x="1121" y="502"/>
                    <a:pt x="1121" y="501"/>
                  </a:cubicBezTo>
                  <a:cubicBezTo>
                    <a:pt x="1121" y="501"/>
                    <a:pt x="1121" y="501"/>
                    <a:pt x="1121" y="501"/>
                  </a:cubicBezTo>
                  <a:cubicBezTo>
                    <a:pt x="1120" y="503"/>
                    <a:pt x="1121" y="517"/>
                    <a:pt x="1122" y="519"/>
                  </a:cubicBezTo>
                  <a:cubicBezTo>
                    <a:pt x="1122" y="519"/>
                    <a:pt x="1122" y="519"/>
                    <a:pt x="1122" y="519"/>
                  </a:cubicBezTo>
                  <a:close/>
                  <a:moveTo>
                    <a:pt x="1120" y="496"/>
                  </a:moveTo>
                  <a:cubicBezTo>
                    <a:pt x="1121" y="495"/>
                    <a:pt x="1120" y="490"/>
                    <a:pt x="1120" y="489"/>
                  </a:cubicBezTo>
                  <a:cubicBezTo>
                    <a:pt x="1119" y="485"/>
                    <a:pt x="1119" y="480"/>
                    <a:pt x="1118" y="479"/>
                  </a:cubicBezTo>
                  <a:cubicBezTo>
                    <a:pt x="1118" y="479"/>
                    <a:pt x="1118" y="479"/>
                    <a:pt x="1118" y="479"/>
                  </a:cubicBezTo>
                  <a:cubicBezTo>
                    <a:pt x="1118" y="480"/>
                    <a:pt x="1119" y="495"/>
                    <a:pt x="1120" y="496"/>
                  </a:cubicBezTo>
                  <a:cubicBezTo>
                    <a:pt x="1120" y="496"/>
                    <a:pt x="1120" y="496"/>
                    <a:pt x="1120" y="496"/>
                  </a:cubicBezTo>
                  <a:close/>
                  <a:moveTo>
                    <a:pt x="1116" y="479"/>
                  </a:moveTo>
                  <a:cubicBezTo>
                    <a:pt x="1115" y="481"/>
                    <a:pt x="1117" y="496"/>
                    <a:pt x="1118" y="497"/>
                  </a:cubicBezTo>
                  <a:cubicBezTo>
                    <a:pt x="1119" y="496"/>
                    <a:pt x="1118" y="491"/>
                    <a:pt x="1118" y="489"/>
                  </a:cubicBezTo>
                  <a:cubicBezTo>
                    <a:pt x="1118" y="485"/>
                    <a:pt x="1117" y="479"/>
                    <a:pt x="1116" y="479"/>
                  </a:cubicBezTo>
                  <a:cubicBezTo>
                    <a:pt x="1116" y="479"/>
                    <a:pt x="1116" y="479"/>
                    <a:pt x="1116" y="479"/>
                  </a:cubicBezTo>
                  <a:close/>
                  <a:moveTo>
                    <a:pt x="1121" y="547"/>
                  </a:moveTo>
                  <a:cubicBezTo>
                    <a:pt x="1119" y="549"/>
                    <a:pt x="1119" y="564"/>
                    <a:pt x="1120" y="565"/>
                  </a:cubicBezTo>
                  <a:cubicBezTo>
                    <a:pt x="1121" y="565"/>
                    <a:pt x="1121" y="560"/>
                    <a:pt x="1121" y="557"/>
                  </a:cubicBezTo>
                  <a:cubicBezTo>
                    <a:pt x="1122" y="553"/>
                    <a:pt x="1121" y="547"/>
                    <a:pt x="1121" y="547"/>
                  </a:cubicBezTo>
                  <a:cubicBezTo>
                    <a:pt x="1121" y="547"/>
                    <a:pt x="1121" y="547"/>
                    <a:pt x="1121" y="547"/>
                  </a:cubicBezTo>
                  <a:close/>
                  <a:moveTo>
                    <a:pt x="1041" y="430"/>
                  </a:moveTo>
                  <a:cubicBezTo>
                    <a:pt x="1044" y="431"/>
                    <a:pt x="1046" y="428"/>
                    <a:pt x="1045" y="423"/>
                  </a:cubicBezTo>
                  <a:cubicBezTo>
                    <a:pt x="1044" y="418"/>
                    <a:pt x="1042" y="413"/>
                    <a:pt x="1038" y="413"/>
                  </a:cubicBezTo>
                  <a:cubicBezTo>
                    <a:pt x="1033" y="415"/>
                    <a:pt x="1037" y="428"/>
                    <a:pt x="1041" y="430"/>
                  </a:cubicBezTo>
                  <a:close/>
                  <a:moveTo>
                    <a:pt x="1037" y="479"/>
                  </a:moveTo>
                  <a:cubicBezTo>
                    <a:pt x="1032" y="480"/>
                    <a:pt x="1033" y="494"/>
                    <a:pt x="1038" y="496"/>
                  </a:cubicBezTo>
                  <a:cubicBezTo>
                    <a:pt x="1040" y="498"/>
                    <a:pt x="1043" y="494"/>
                    <a:pt x="1043" y="489"/>
                  </a:cubicBezTo>
                  <a:cubicBezTo>
                    <a:pt x="1042" y="484"/>
                    <a:pt x="1040" y="478"/>
                    <a:pt x="1037" y="479"/>
                  </a:cubicBezTo>
                  <a:close/>
                  <a:moveTo>
                    <a:pt x="1035" y="474"/>
                  </a:moveTo>
                  <a:cubicBezTo>
                    <a:pt x="1038" y="475"/>
                    <a:pt x="1041" y="472"/>
                    <a:pt x="1040" y="466"/>
                  </a:cubicBezTo>
                  <a:cubicBezTo>
                    <a:pt x="1040" y="462"/>
                    <a:pt x="1038" y="456"/>
                    <a:pt x="1034" y="457"/>
                  </a:cubicBezTo>
                  <a:cubicBezTo>
                    <a:pt x="1029" y="458"/>
                    <a:pt x="1031" y="471"/>
                    <a:pt x="1035" y="474"/>
                  </a:cubicBezTo>
                  <a:close/>
                  <a:moveTo>
                    <a:pt x="1048" y="474"/>
                  </a:moveTo>
                  <a:cubicBezTo>
                    <a:pt x="1051" y="475"/>
                    <a:pt x="1053" y="471"/>
                    <a:pt x="1052" y="466"/>
                  </a:cubicBezTo>
                  <a:cubicBezTo>
                    <a:pt x="1052" y="462"/>
                    <a:pt x="1050" y="456"/>
                    <a:pt x="1046" y="457"/>
                  </a:cubicBezTo>
                  <a:cubicBezTo>
                    <a:pt x="1041" y="458"/>
                    <a:pt x="1044" y="472"/>
                    <a:pt x="1048" y="474"/>
                  </a:cubicBezTo>
                  <a:close/>
                  <a:moveTo>
                    <a:pt x="1032" y="452"/>
                  </a:moveTo>
                  <a:cubicBezTo>
                    <a:pt x="1035" y="453"/>
                    <a:pt x="1038" y="450"/>
                    <a:pt x="1037" y="444"/>
                  </a:cubicBezTo>
                  <a:cubicBezTo>
                    <a:pt x="1036" y="440"/>
                    <a:pt x="1034" y="434"/>
                    <a:pt x="1031" y="435"/>
                  </a:cubicBezTo>
                  <a:cubicBezTo>
                    <a:pt x="1026" y="436"/>
                    <a:pt x="1028" y="449"/>
                    <a:pt x="1032" y="452"/>
                  </a:cubicBezTo>
                  <a:close/>
                  <a:moveTo>
                    <a:pt x="1062" y="496"/>
                  </a:moveTo>
                  <a:cubicBezTo>
                    <a:pt x="1064" y="497"/>
                    <a:pt x="1066" y="494"/>
                    <a:pt x="1066" y="489"/>
                  </a:cubicBezTo>
                  <a:cubicBezTo>
                    <a:pt x="1065" y="484"/>
                    <a:pt x="1064" y="478"/>
                    <a:pt x="1061" y="479"/>
                  </a:cubicBezTo>
                  <a:cubicBezTo>
                    <a:pt x="1056" y="481"/>
                    <a:pt x="1058" y="495"/>
                    <a:pt x="1062" y="496"/>
                  </a:cubicBezTo>
                  <a:close/>
                  <a:moveTo>
                    <a:pt x="1061" y="610"/>
                  </a:moveTo>
                  <a:cubicBezTo>
                    <a:pt x="1063" y="611"/>
                    <a:pt x="1066" y="608"/>
                    <a:pt x="1067" y="602"/>
                  </a:cubicBezTo>
                  <a:cubicBezTo>
                    <a:pt x="1067" y="598"/>
                    <a:pt x="1066" y="592"/>
                    <a:pt x="1063" y="593"/>
                  </a:cubicBezTo>
                  <a:cubicBezTo>
                    <a:pt x="1058" y="594"/>
                    <a:pt x="1058" y="608"/>
                    <a:pt x="1061" y="610"/>
                  </a:cubicBezTo>
                  <a:close/>
                  <a:moveTo>
                    <a:pt x="1021" y="457"/>
                  </a:moveTo>
                  <a:cubicBezTo>
                    <a:pt x="1015" y="458"/>
                    <a:pt x="1017" y="471"/>
                    <a:pt x="1022" y="474"/>
                  </a:cubicBezTo>
                  <a:cubicBezTo>
                    <a:pt x="1025" y="475"/>
                    <a:pt x="1028" y="472"/>
                    <a:pt x="1027" y="466"/>
                  </a:cubicBezTo>
                  <a:cubicBezTo>
                    <a:pt x="1027" y="462"/>
                    <a:pt x="1025" y="456"/>
                    <a:pt x="1021" y="457"/>
                  </a:cubicBezTo>
                  <a:close/>
                  <a:moveTo>
                    <a:pt x="1051" y="501"/>
                  </a:moveTo>
                  <a:cubicBezTo>
                    <a:pt x="1046" y="503"/>
                    <a:pt x="1048" y="517"/>
                    <a:pt x="1052" y="519"/>
                  </a:cubicBezTo>
                  <a:cubicBezTo>
                    <a:pt x="1054" y="520"/>
                    <a:pt x="1056" y="516"/>
                    <a:pt x="1056" y="511"/>
                  </a:cubicBezTo>
                  <a:cubicBezTo>
                    <a:pt x="1056" y="507"/>
                    <a:pt x="1054" y="501"/>
                    <a:pt x="1051" y="501"/>
                  </a:cubicBezTo>
                  <a:close/>
                  <a:moveTo>
                    <a:pt x="1050" y="496"/>
                  </a:moveTo>
                  <a:cubicBezTo>
                    <a:pt x="1053" y="497"/>
                    <a:pt x="1055" y="494"/>
                    <a:pt x="1055" y="489"/>
                  </a:cubicBezTo>
                  <a:cubicBezTo>
                    <a:pt x="1054" y="484"/>
                    <a:pt x="1052" y="478"/>
                    <a:pt x="1049" y="479"/>
                  </a:cubicBezTo>
                  <a:cubicBezTo>
                    <a:pt x="1044" y="481"/>
                    <a:pt x="1046" y="495"/>
                    <a:pt x="1050" y="496"/>
                  </a:cubicBezTo>
                  <a:close/>
                  <a:moveTo>
                    <a:pt x="3" y="593"/>
                  </a:moveTo>
                  <a:cubicBezTo>
                    <a:pt x="3" y="593"/>
                    <a:pt x="3" y="593"/>
                    <a:pt x="3" y="593"/>
                  </a:cubicBezTo>
                  <a:cubicBezTo>
                    <a:pt x="2" y="594"/>
                    <a:pt x="3" y="609"/>
                    <a:pt x="4" y="610"/>
                  </a:cubicBezTo>
                  <a:cubicBezTo>
                    <a:pt x="4" y="610"/>
                    <a:pt x="4" y="610"/>
                    <a:pt x="4" y="610"/>
                  </a:cubicBezTo>
                  <a:cubicBezTo>
                    <a:pt x="5" y="609"/>
                    <a:pt x="4" y="603"/>
                    <a:pt x="4" y="602"/>
                  </a:cubicBezTo>
                  <a:cubicBezTo>
                    <a:pt x="4" y="599"/>
                    <a:pt x="3" y="594"/>
                    <a:pt x="3" y="593"/>
                  </a:cubicBezTo>
                  <a:close/>
                  <a:moveTo>
                    <a:pt x="0" y="570"/>
                  </a:moveTo>
                  <a:cubicBezTo>
                    <a:pt x="0" y="570"/>
                    <a:pt x="0" y="570"/>
                    <a:pt x="0" y="570"/>
                  </a:cubicBezTo>
                  <a:cubicBezTo>
                    <a:pt x="0" y="571"/>
                    <a:pt x="1" y="586"/>
                    <a:pt x="1" y="588"/>
                  </a:cubicBezTo>
                  <a:cubicBezTo>
                    <a:pt x="1" y="587"/>
                    <a:pt x="1" y="583"/>
                    <a:pt x="1" y="580"/>
                  </a:cubicBezTo>
                  <a:cubicBezTo>
                    <a:pt x="1" y="576"/>
                    <a:pt x="0" y="571"/>
                    <a:pt x="0" y="570"/>
                  </a:cubicBezTo>
                  <a:close/>
                  <a:moveTo>
                    <a:pt x="1065" y="659"/>
                  </a:moveTo>
                  <a:cubicBezTo>
                    <a:pt x="1061" y="661"/>
                    <a:pt x="1059" y="674"/>
                    <a:pt x="1062" y="676"/>
                  </a:cubicBezTo>
                  <a:cubicBezTo>
                    <a:pt x="1064" y="677"/>
                    <a:pt x="1066" y="674"/>
                    <a:pt x="1067" y="669"/>
                  </a:cubicBezTo>
                  <a:cubicBezTo>
                    <a:pt x="1068" y="664"/>
                    <a:pt x="1068" y="659"/>
                    <a:pt x="1065" y="659"/>
                  </a:cubicBezTo>
                  <a:close/>
                  <a:moveTo>
                    <a:pt x="2" y="524"/>
                  </a:moveTo>
                  <a:cubicBezTo>
                    <a:pt x="1" y="526"/>
                    <a:pt x="0" y="540"/>
                    <a:pt x="1" y="542"/>
                  </a:cubicBezTo>
                  <a:cubicBezTo>
                    <a:pt x="1" y="542"/>
                    <a:pt x="1" y="542"/>
                    <a:pt x="1" y="542"/>
                  </a:cubicBezTo>
                  <a:cubicBezTo>
                    <a:pt x="2" y="541"/>
                    <a:pt x="2" y="535"/>
                    <a:pt x="2" y="534"/>
                  </a:cubicBezTo>
                  <a:cubicBezTo>
                    <a:pt x="2" y="530"/>
                    <a:pt x="2" y="525"/>
                    <a:pt x="2" y="524"/>
                  </a:cubicBezTo>
                  <a:cubicBezTo>
                    <a:pt x="2" y="524"/>
                    <a:pt x="2" y="524"/>
                    <a:pt x="2" y="524"/>
                  </a:cubicBezTo>
                  <a:close/>
                  <a:moveTo>
                    <a:pt x="1067" y="452"/>
                  </a:moveTo>
                  <a:cubicBezTo>
                    <a:pt x="1069" y="453"/>
                    <a:pt x="1070" y="449"/>
                    <a:pt x="1070" y="444"/>
                  </a:cubicBezTo>
                  <a:cubicBezTo>
                    <a:pt x="1069" y="440"/>
                    <a:pt x="1067" y="434"/>
                    <a:pt x="1064" y="435"/>
                  </a:cubicBezTo>
                  <a:cubicBezTo>
                    <a:pt x="1060" y="437"/>
                    <a:pt x="1063" y="450"/>
                    <a:pt x="1067" y="452"/>
                  </a:cubicBezTo>
                  <a:close/>
                  <a:moveTo>
                    <a:pt x="8" y="489"/>
                  </a:moveTo>
                  <a:cubicBezTo>
                    <a:pt x="9" y="485"/>
                    <a:pt x="9" y="479"/>
                    <a:pt x="8" y="479"/>
                  </a:cubicBezTo>
                  <a:cubicBezTo>
                    <a:pt x="8" y="479"/>
                    <a:pt x="8" y="479"/>
                    <a:pt x="8" y="479"/>
                  </a:cubicBezTo>
                  <a:cubicBezTo>
                    <a:pt x="6" y="481"/>
                    <a:pt x="5" y="496"/>
                    <a:pt x="6" y="497"/>
                  </a:cubicBezTo>
                  <a:cubicBezTo>
                    <a:pt x="7" y="496"/>
                    <a:pt x="8" y="491"/>
                    <a:pt x="8" y="489"/>
                  </a:cubicBezTo>
                  <a:close/>
                  <a:moveTo>
                    <a:pt x="0" y="557"/>
                  </a:moveTo>
                  <a:cubicBezTo>
                    <a:pt x="0" y="553"/>
                    <a:pt x="0" y="548"/>
                    <a:pt x="0" y="547"/>
                  </a:cubicBezTo>
                  <a:cubicBezTo>
                    <a:pt x="0" y="547"/>
                    <a:pt x="0" y="547"/>
                    <a:pt x="0" y="547"/>
                  </a:cubicBezTo>
                  <a:cubicBezTo>
                    <a:pt x="0" y="549"/>
                    <a:pt x="0" y="563"/>
                    <a:pt x="0" y="565"/>
                  </a:cubicBezTo>
                  <a:cubicBezTo>
                    <a:pt x="0" y="565"/>
                    <a:pt x="0" y="560"/>
                    <a:pt x="0" y="557"/>
                  </a:cubicBezTo>
                  <a:close/>
                  <a:moveTo>
                    <a:pt x="1020" y="423"/>
                  </a:moveTo>
                  <a:cubicBezTo>
                    <a:pt x="1020" y="418"/>
                    <a:pt x="1017" y="413"/>
                    <a:pt x="1013" y="413"/>
                  </a:cubicBezTo>
                  <a:cubicBezTo>
                    <a:pt x="1008" y="415"/>
                    <a:pt x="1011" y="427"/>
                    <a:pt x="1016" y="430"/>
                  </a:cubicBezTo>
                  <a:cubicBezTo>
                    <a:pt x="1019" y="431"/>
                    <a:pt x="1021" y="428"/>
                    <a:pt x="1020" y="423"/>
                  </a:cubicBezTo>
                  <a:close/>
                  <a:moveTo>
                    <a:pt x="1019" y="452"/>
                  </a:moveTo>
                  <a:cubicBezTo>
                    <a:pt x="1022" y="453"/>
                    <a:pt x="1025" y="450"/>
                    <a:pt x="1024" y="444"/>
                  </a:cubicBezTo>
                  <a:cubicBezTo>
                    <a:pt x="1024" y="440"/>
                    <a:pt x="1021" y="434"/>
                    <a:pt x="1018" y="435"/>
                  </a:cubicBezTo>
                  <a:cubicBezTo>
                    <a:pt x="1012" y="436"/>
                    <a:pt x="1015" y="449"/>
                    <a:pt x="1019" y="452"/>
                  </a:cubicBezTo>
                  <a:close/>
                  <a:moveTo>
                    <a:pt x="7" y="602"/>
                  </a:moveTo>
                  <a:cubicBezTo>
                    <a:pt x="7" y="598"/>
                    <a:pt x="6" y="593"/>
                    <a:pt x="5" y="593"/>
                  </a:cubicBezTo>
                  <a:cubicBezTo>
                    <a:pt x="5" y="593"/>
                    <a:pt x="5" y="593"/>
                    <a:pt x="5" y="593"/>
                  </a:cubicBezTo>
                  <a:cubicBezTo>
                    <a:pt x="4" y="594"/>
                    <a:pt x="5" y="610"/>
                    <a:pt x="7" y="610"/>
                  </a:cubicBezTo>
                  <a:cubicBezTo>
                    <a:pt x="8" y="610"/>
                    <a:pt x="7" y="605"/>
                    <a:pt x="7" y="602"/>
                  </a:cubicBezTo>
                  <a:close/>
                  <a:moveTo>
                    <a:pt x="1093" y="519"/>
                  </a:moveTo>
                  <a:cubicBezTo>
                    <a:pt x="1094" y="520"/>
                    <a:pt x="1095" y="516"/>
                    <a:pt x="1095" y="511"/>
                  </a:cubicBezTo>
                  <a:cubicBezTo>
                    <a:pt x="1095" y="507"/>
                    <a:pt x="1094" y="501"/>
                    <a:pt x="1091" y="501"/>
                  </a:cubicBezTo>
                  <a:cubicBezTo>
                    <a:pt x="1087" y="503"/>
                    <a:pt x="1090" y="518"/>
                    <a:pt x="1093" y="519"/>
                  </a:cubicBezTo>
                  <a:close/>
                  <a:moveTo>
                    <a:pt x="1060" y="474"/>
                  </a:moveTo>
                  <a:cubicBezTo>
                    <a:pt x="1062" y="475"/>
                    <a:pt x="1064" y="471"/>
                    <a:pt x="1063" y="466"/>
                  </a:cubicBezTo>
                  <a:cubicBezTo>
                    <a:pt x="1063" y="462"/>
                    <a:pt x="1061" y="456"/>
                    <a:pt x="1058" y="457"/>
                  </a:cubicBezTo>
                  <a:cubicBezTo>
                    <a:pt x="1053" y="458"/>
                    <a:pt x="1056" y="472"/>
                    <a:pt x="1060" y="474"/>
                  </a:cubicBezTo>
                  <a:close/>
                  <a:moveTo>
                    <a:pt x="1057" y="452"/>
                  </a:moveTo>
                  <a:cubicBezTo>
                    <a:pt x="1059" y="453"/>
                    <a:pt x="1060" y="449"/>
                    <a:pt x="1060" y="444"/>
                  </a:cubicBezTo>
                  <a:cubicBezTo>
                    <a:pt x="1059" y="440"/>
                    <a:pt x="1057" y="434"/>
                    <a:pt x="1054" y="435"/>
                  </a:cubicBezTo>
                  <a:cubicBezTo>
                    <a:pt x="1049" y="437"/>
                    <a:pt x="1053" y="450"/>
                    <a:pt x="1057" y="452"/>
                  </a:cubicBezTo>
                  <a:close/>
                  <a:moveTo>
                    <a:pt x="988" y="326"/>
                  </a:moveTo>
                  <a:cubicBezTo>
                    <a:pt x="991" y="327"/>
                    <a:pt x="993" y="324"/>
                    <a:pt x="991" y="319"/>
                  </a:cubicBezTo>
                  <a:cubicBezTo>
                    <a:pt x="990" y="315"/>
                    <a:pt x="986" y="310"/>
                    <a:pt x="983" y="311"/>
                  </a:cubicBezTo>
                  <a:cubicBezTo>
                    <a:pt x="978" y="312"/>
                    <a:pt x="983" y="324"/>
                    <a:pt x="988" y="326"/>
                  </a:cubicBezTo>
                  <a:close/>
                  <a:moveTo>
                    <a:pt x="1107" y="681"/>
                  </a:moveTo>
                  <a:cubicBezTo>
                    <a:pt x="1107" y="681"/>
                    <a:pt x="1107" y="681"/>
                    <a:pt x="1107" y="681"/>
                  </a:cubicBezTo>
                  <a:cubicBezTo>
                    <a:pt x="1106" y="682"/>
                    <a:pt x="1103" y="696"/>
                    <a:pt x="1103" y="698"/>
                  </a:cubicBezTo>
                  <a:cubicBezTo>
                    <a:pt x="1103" y="698"/>
                    <a:pt x="1103" y="698"/>
                    <a:pt x="1103" y="698"/>
                  </a:cubicBezTo>
                  <a:cubicBezTo>
                    <a:pt x="1104" y="697"/>
                    <a:pt x="1105" y="691"/>
                    <a:pt x="1106" y="690"/>
                  </a:cubicBezTo>
                  <a:cubicBezTo>
                    <a:pt x="1106" y="687"/>
                    <a:pt x="1108" y="682"/>
                    <a:pt x="1107" y="681"/>
                  </a:cubicBezTo>
                  <a:close/>
                  <a:moveTo>
                    <a:pt x="1096" y="723"/>
                  </a:moveTo>
                  <a:cubicBezTo>
                    <a:pt x="1096" y="723"/>
                    <a:pt x="1096" y="723"/>
                    <a:pt x="1096" y="723"/>
                  </a:cubicBezTo>
                  <a:cubicBezTo>
                    <a:pt x="1094" y="725"/>
                    <a:pt x="1090" y="738"/>
                    <a:pt x="1090" y="739"/>
                  </a:cubicBezTo>
                  <a:cubicBezTo>
                    <a:pt x="1090" y="739"/>
                    <a:pt x="1090" y="739"/>
                    <a:pt x="1090" y="739"/>
                  </a:cubicBezTo>
                  <a:cubicBezTo>
                    <a:pt x="1091" y="738"/>
                    <a:pt x="1093" y="733"/>
                    <a:pt x="1093" y="732"/>
                  </a:cubicBezTo>
                  <a:cubicBezTo>
                    <a:pt x="1094" y="729"/>
                    <a:pt x="1096" y="724"/>
                    <a:pt x="1096" y="723"/>
                  </a:cubicBezTo>
                  <a:close/>
                  <a:moveTo>
                    <a:pt x="1098" y="719"/>
                  </a:moveTo>
                  <a:cubicBezTo>
                    <a:pt x="1098" y="719"/>
                    <a:pt x="1098" y="719"/>
                    <a:pt x="1099" y="716"/>
                  </a:cubicBezTo>
                  <a:cubicBezTo>
                    <a:pt x="1100" y="713"/>
                    <a:pt x="1101" y="709"/>
                    <a:pt x="1102" y="705"/>
                  </a:cubicBezTo>
                  <a:cubicBezTo>
                    <a:pt x="1102" y="704"/>
                    <a:pt x="1102" y="704"/>
                    <a:pt x="1102" y="704"/>
                  </a:cubicBezTo>
                  <a:cubicBezTo>
                    <a:pt x="1102" y="703"/>
                    <a:pt x="1103" y="703"/>
                    <a:pt x="1103" y="702"/>
                  </a:cubicBezTo>
                  <a:cubicBezTo>
                    <a:pt x="1103" y="702"/>
                    <a:pt x="1103" y="702"/>
                    <a:pt x="1103" y="702"/>
                  </a:cubicBezTo>
                  <a:cubicBezTo>
                    <a:pt x="1102" y="704"/>
                    <a:pt x="1098" y="717"/>
                    <a:pt x="1098" y="719"/>
                  </a:cubicBezTo>
                  <a:close/>
                  <a:moveTo>
                    <a:pt x="1045" y="452"/>
                  </a:moveTo>
                  <a:cubicBezTo>
                    <a:pt x="1048" y="453"/>
                    <a:pt x="1049" y="449"/>
                    <a:pt x="1049" y="444"/>
                  </a:cubicBezTo>
                  <a:cubicBezTo>
                    <a:pt x="1048" y="440"/>
                    <a:pt x="1046" y="434"/>
                    <a:pt x="1043" y="435"/>
                  </a:cubicBezTo>
                  <a:cubicBezTo>
                    <a:pt x="1038" y="437"/>
                    <a:pt x="1041" y="450"/>
                    <a:pt x="1045" y="452"/>
                  </a:cubicBezTo>
                  <a:close/>
                  <a:moveTo>
                    <a:pt x="1091" y="739"/>
                  </a:moveTo>
                  <a:cubicBezTo>
                    <a:pt x="1091" y="739"/>
                    <a:pt x="1091" y="739"/>
                    <a:pt x="1092" y="737"/>
                  </a:cubicBezTo>
                  <a:cubicBezTo>
                    <a:pt x="1093" y="734"/>
                    <a:pt x="1094" y="731"/>
                    <a:pt x="1095" y="728"/>
                  </a:cubicBezTo>
                  <a:cubicBezTo>
                    <a:pt x="1095" y="727"/>
                    <a:pt x="1095" y="726"/>
                    <a:pt x="1096" y="725"/>
                  </a:cubicBezTo>
                  <a:cubicBezTo>
                    <a:pt x="1096" y="725"/>
                    <a:pt x="1096" y="725"/>
                    <a:pt x="1096" y="725"/>
                  </a:cubicBezTo>
                  <a:cubicBezTo>
                    <a:pt x="1096" y="724"/>
                    <a:pt x="1096" y="724"/>
                    <a:pt x="1096" y="723"/>
                  </a:cubicBezTo>
                  <a:cubicBezTo>
                    <a:pt x="1096" y="723"/>
                    <a:pt x="1096" y="723"/>
                    <a:pt x="1096" y="723"/>
                  </a:cubicBezTo>
                  <a:cubicBezTo>
                    <a:pt x="1096" y="725"/>
                    <a:pt x="1091" y="738"/>
                    <a:pt x="1091" y="739"/>
                  </a:cubicBezTo>
                  <a:close/>
                  <a:moveTo>
                    <a:pt x="1053" y="430"/>
                  </a:moveTo>
                  <a:cubicBezTo>
                    <a:pt x="1055" y="431"/>
                    <a:pt x="1056" y="428"/>
                    <a:pt x="1056" y="423"/>
                  </a:cubicBezTo>
                  <a:cubicBezTo>
                    <a:pt x="1055" y="418"/>
                    <a:pt x="1052" y="413"/>
                    <a:pt x="1050" y="413"/>
                  </a:cubicBezTo>
                  <a:cubicBezTo>
                    <a:pt x="1045" y="415"/>
                    <a:pt x="1049" y="428"/>
                    <a:pt x="1053" y="430"/>
                  </a:cubicBezTo>
                  <a:close/>
                  <a:moveTo>
                    <a:pt x="1019" y="387"/>
                  </a:moveTo>
                  <a:cubicBezTo>
                    <a:pt x="1022" y="389"/>
                    <a:pt x="1024" y="385"/>
                    <a:pt x="1023" y="380"/>
                  </a:cubicBezTo>
                  <a:cubicBezTo>
                    <a:pt x="1022" y="376"/>
                    <a:pt x="1019" y="371"/>
                    <a:pt x="1016" y="371"/>
                  </a:cubicBezTo>
                  <a:cubicBezTo>
                    <a:pt x="1011" y="373"/>
                    <a:pt x="1015" y="385"/>
                    <a:pt x="1019" y="387"/>
                  </a:cubicBezTo>
                  <a:close/>
                  <a:moveTo>
                    <a:pt x="1007" y="387"/>
                  </a:moveTo>
                  <a:cubicBezTo>
                    <a:pt x="1010" y="389"/>
                    <a:pt x="1012" y="385"/>
                    <a:pt x="1011" y="380"/>
                  </a:cubicBezTo>
                  <a:cubicBezTo>
                    <a:pt x="1010" y="376"/>
                    <a:pt x="1007" y="371"/>
                    <a:pt x="1003" y="371"/>
                  </a:cubicBezTo>
                  <a:cubicBezTo>
                    <a:pt x="998" y="373"/>
                    <a:pt x="1002" y="385"/>
                    <a:pt x="1007" y="387"/>
                  </a:cubicBezTo>
                  <a:close/>
                  <a:moveTo>
                    <a:pt x="1012" y="408"/>
                  </a:moveTo>
                  <a:cubicBezTo>
                    <a:pt x="1015" y="410"/>
                    <a:pt x="1017" y="406"/>
                    <a:pt x="1016" y="401"/>
                  </a:cubicBezTo>
                  <a:cubicBezTo>
                    <a:pt x="1015" y="397"/>
                    <a:pt x="1012" y="392"/>
                    <a:pt x="1009" y="392"/>
                  </a:cubicBezTo>
                  <a:cubicBezTo>
                    <a:pt x="1004" y="394"/>
                    <a:pt x="1007" y="406"/>
                    <a:pt x="1012" y="408"/>
                  </a:cubicBezTo>
                  <a:close/>
                  <a:moveTo>
                    <a:pt x="995" y="346"/>
                  </a:moveTo>
                  <a:cubicBezTo>
                    <a:pt x="998" y="347"/>
                    <a:pt x="1000" y="344"/>
                    <a:pt x="998" y="339"/>
                  </a:cubicBezTo>
                  <a:cubicBezTo>
                    <a:pt x="997" y="335"/>
                    <a:pt x="994" y="330"/>
                    <a:pt x="990" y="330"/>
                  </a:cubicBezTo>
                  <a:cubicBezTo>
                    <a:pt x="986" y="332"/>
                    <a:pt x="990" y="344"/>
                    <a:pt x="995" y="346"/>
                  </a:cubicBezTo>
                  <a:close/>
                  <a:moveTo>
                    <a:pt x="1122" y="588"/>
                  </a:moveTo>
                  <a:cubicBezTo>
                    <a:pt x="1122" y="587"/>
                    <a:pt x="1122" y="581"/>
                    <a:pt x="1122" y="580"/>
                  </a:cubicBezTo>
                  <a:cubicBezTo>
                    <a:pt x="1123" y="576"/>
                    <a:pt x="1123" y="571"/>
                    <a:pt x="1122" y="570"/>
                  </a:cubicBezTo>
                  <a:cubicBezTo>
                    <a:pt x="1122" y="570"/>
                    <a:pt x="1122" y="570"/>
                    <a:pt x="1122" y="570"/>
                  </a:cubicBezTo>
                  <a:cubicBezTo>
                    <a:pt x="1122" y="571"/>
                    <a:pt x="1121" y="586"/>
                    <a:pt x="1121" y="588"/>
                  </a:cubicBezTo>
                  <a:cubicBezTo>
                    <a:pt x="1121" y="588"/>
                    <a:pt x="1121" y="588"/>
                    <a:pt x="1122" y="588"/>
                  </a:cubicBezTo>
                  <a:close/>
                  <a:moveTo>
                    <a:pt x="1037" y="409"/>
                  </a:moveTo>
                  <a:cubicBezTo>
                    <a:pt x="1040" y="410"/>
                    <a:pt x="1041" y="406"/>
                    <a:pt x="1040" y="401"/>
                  </a:cubicBezTo>
                  <a:cubicBezTo>
                    <a:pt x="1039" y="397"/>
                    <a:pt x="1036" y="392"/>
                    <a:pt x="1033" y="392"/>
                  </a:cubicBezTo>
                  <a:cubicBezTo>
                    <a:pt x="1029" y="394"/>
                    <a:pt x="1033" y="407"/>
                    <a:pt x="1037" y="409"/>
                  </a:cubicBezTo>
                  <a:close/>
                  <a:moveTo>
                    <a:pt x="10" y="625"/>
                  </a:moveTo>
                  <a:cubicBezTo>
                    <a:pt x="9" y="621"/>
                    <a:pt x="8" y="615"/>
                    <a:pt x="7" y="615"/>
                  </a:cubicBezTo>
                  <a:cubicBezTo>
                    <a:pt x="7" y="615"/>
                    <a:pt x="7" y="615"/>
                    <a:pt x="7" y="615"/>
                  </a:cubicBezTo>
                  <a:cubicBezTo>
                    <a:pt x="6" y="617"/>
                    <a:pt x="8" y="632"/>
                    <a:pt x="10" y="633"/>
                  </a:cubicBezTo>
                  <a:cubicBezTo>
                    <a:pt x="10" y="632"/>
                    <a:pt x="10" y="628"/>
                    <a:pt x="10" y="625"/>
                  </a:cubicBezTo>
                  <a:close/>
                  <a:moveTo>
                    <a:pt x="1029" y="430"/>
                  </a:moveTo>
                  <a:cubicBezTo>
                    <a:pt x="1032" y="431"/>
                    <a:pt x="1034" y="428"/>
                    <a:pt x="1033" y="423"/>
                  </a:cubicBezTo>
                  <a:cubicBezTo>
                    <a:pt x="1032" y="418"/>
                    <a:pt x="1030" y="413"/>
                    <a:pt x="1026" y="413"/>
                  </a:cubicBezTo>
                  <a:cubicBezTo>
                    <a:pt x="1021" y="415"/>
                    <a:pt x="1024" y="427"/>
                    <a:pt x="1029" y="430"/>
                  </a:cubicBezTo>
                  <a:close/>
                </a:path>
              </a:pathLst>
            </a:custGeom>
            <a:blipFill dpi="0" rotWithShape="0">
              <a:blip r:embed="rId3" cstate="print">
                <a:alphaModFix amt="70000"/>
              </a:blip>
              <a:srcRect/>
              <a:stretch>
                <a:fillRect/>
              </a:stretch>
            </a:blipFill>
            <a:ln w="9525" cap="flat" cmpd="sng">
              <a:solidFill>
                <a:srgbClr val="89BA17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18000" tIns="10800" rIns="18000" bIns="10800" anchor="ctr"/>
            <a:lstStyle/>
            <a:p>
              <a:endParaRPr lang="en-US" sz="1200"/>
            </a:p>
          </p:txBody>
        </p:sp>
        <p:sp>
          <p:nvSpPr>
            <p:cNvPr id="22533" name="Text Box 10"/>
            <p:cNvSpPr txBox="1">
              <a:spLocks noChangeArrowheads="1"/>
            </p:cNvSpPr>
            <p:nvPr/>
          </p:nvSpPr>
          <p:spPr bwMode="auto">
            <a:xfrm>
              <a:off x="6208314" y="3367654"/>
              <a:ext cx="976101" cy="92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/>
              <a:r>
                <a:rPr lang="sv-SE" sz="600" b="1">
                  <a:solidFill>
                    <a:srgbClr val="FFFFFF"/>
                  </a:solidFill>
                  <a:ea typeface="MS PGothic" pitchFamily="34" charset="-128"/>
                </a:rPr>
                <a:t>AUTOMATION</a:t>
              </a:r>
              <a:endParaRPr lang="en-US" sz="600" b="1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grpSp>
          <p:nvGrpSpPr>
            <p:cNvPr id="2" name="Group 70"/>
            <p:cNvGrpSpPr/>
            <p:nvPr/>
          </p:nvGrpSpPr>
          <p:grpSpPr>
            <a:xfrm>
              <a:off x="3751916" y="1400468"/>
              <a:ext cx="4172646" cy="4097794"/>
              <a:chOff x="2227916" y="1719133"/>
              <a:chExt cx="4172646" cy="4097794"/>
            </a:xfrm>
          </p:grpSpPr>
          <p:sp>
            <p:nvSpPr>
              <p:cNvPr id="22530" name="Oval 24"/>
              <p:cNvSpPr>
                <a:spLocks noChangeArrowheads="1"/>
              </p:cNvSpPr>
              <p:nvPr/>
            </p:nvSpPr>
            <p:spPr bwMode="auto">
              <a:xfrm>
                <a:off x="2227916" y="1719133"/>
                <a:ext cx="4172646" cy="4097794"/>
              </a:xfrm>
              <a:prstGeom prst="ellipse">
                <a:avLst/>
              </a:prstGeom>
              <a:noFill/>
              <a:ln w="38100" algn="ctr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sz="1200"/>
              </a:p>
            </p:txBody>
          </p:sp>
          <p:grpSp>
            <p:nvGrpSpPr>
              <p:cNvPr id="3" name="Group 67"/>
              <p:cNvGrpSpPr/>
              <p:nvPr/>
            </p:nvGrpSpPr>
            <p:grpSpPr>
              <a:xfrm>
                <a:off x="2994143" y="2372829"/>
                <a:ext cx="2710978" cy="2212321"/>
                <a:chOff x="2994143" y="2372829"/>
                <a:chExt cx="2710978" cy="2212321"/>
              </a:xfrm>
            </p:grpSpPr>
            <p:grpSp>
              <p:nvGrpSpPr>
                <p:cNvPr id="4" name="Group 9"/>
                <p:cNvGrpSpPr>
                  <a:grpSpLocks/>
                </p:cNvGrpSpPr>
                <p:nvPr/>
              </p:nvGrpSpPr>
              <p:grpSpPr bwMode="auto">
                <a:xfrm>
                  <a:off x="2994143" y="2372829"/>
                  <a:ext cx="2710978" cy="2212321"/>
                  <a:chOff x="1396" y="1230"/>
                  <a:chExt cx="2962" cy="2648"/>
                </a:xfrm>
              </p:grpSpPr>
              <p:sp>
                <p:nvSpPr>
                  <p:cNvPr id="22558" name="Oval 10"/>
                  <p:cNvSpPr>
                    <a:spLocks noChangeArrowheads="1"/>
                  </p:cNvSpPr>
                  <p:nvPr/>
                </p:nvSpPr>
                <p:spPr bwMode="auto">
                  <a:xfrm>
                    <a:off x="2364" y="1230"/>
                    <a:ext cx="1008" cy="1008"/>
                  </a:xfrm>
                  <a:prstGeom prst="ellipse">
                    <a:avLst/>
                  </a:prstGeom>
                  <a:solidFill>
                    <a:srgbClr val="003258"/>
                  </a:solidFill>
                  <a:ln w="9525">
                    <a:solidFill>
                      <a:schemeClr val="tx1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559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2465" y="1576"/>
                    <a:ext cx="799" cy="40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pPr algn="ctr" eaLnBrk="0" hangingPunct="0"/>
                    <a:r>
                      <a:rPr lang="en-US" sz="800" b="1" dirty="0">
                        <a:solidFill>
                          <a:schemeClr val="bg1"/>
                        </a:solidFill>
                      </a:rPr>
                      <a:t>People &amp; </a:t>
                    </a:r>
                  </a:p>
                  <a:p>
                    <a:pPr algn="ctr" eaLnBrk="0" hangingPunct="0"/>
                    <a:r>
                      <a:rPr lang="en-US" sz="800" b="1" dirty="0">
                        <a:solidFill>
                          <a:schemeClr val="bg1"/>
                        </a:solidFill>
                      </a:rPr>
                      <a:t>Organization</a:t>
                    </a:r>
                  </a:p>
                </p:txBody>
              </p:sp>
              <p:sp>
                <p:nvSpPr>
                  <p:cNvPr id="22560" name="Oval 12"/>
                  <p:cNvSpPr>
                    <a:spLocks noChangeArrowheads="1"/>
                  </p:cNvSpPr>
                  <p:nvPr/>
                </p:nvSpPr>
                <p:spPr bwMode="auto">
                  <a:xfrm>
                    <a:off x="1396" y="2870"/>
                    <a:ext cx="1008" cy="1008"/>
                  </a:xfrm>
                  <a:prstGeom prst="ellipse">
                    <a:avLst/>
                  </a:prstGeom>
                  <a:solidFill>
                    <a:srgbClr val="003258"/>
                  </a:solidFill>
                  <a:ln w="9525">
                    <a:solidFill>
                      <a:schemeClr val="tx1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561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1520" y="3104"/>
                    <a:ext cx="785" cy="55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pPr algn="ctr" eaLnBrk="0" hangingPunct="0"/>
                    <a:r>
                      <a:rPr lang="en-US" sz="800" b="1" dirty="0">
                        <a:solidFill>
                          <a:schemeClr val="bg1"/>
                        </a:solidFill>
                      </a:rPr>
                      <a:t>Methods</a:t>
                    </a:r>
                  </a:p>
                  <a:p>
                    <a:pPr algn="ctr" eaLnBrk="0" hangingPunct="0"/>
                    <a:r>
                      <a:rPr lang="en-US" sz="800" b="1" dirty="0">
                        <a:solidFill>
                          <a:schemeClr val="bg1"/>
                        </a:solidFill>
                      </a:rPr>
                      <a:t> Processes &amp;</a:t>
                    </a:r>
                  </a:p>
                  <a:p>
                    <a:pPr algn="ctr" eaLnBrk="0" hangingPunct="0"/>
                    <a:r>
                      <a:rPr lang="en-US" sz="800" b="1" dirty="0">
                        <a:solidFill>
                          <a:schemeClr val="bg1"/>
                        </a:solidFill>
                      </a:rPr>
                      <a:t>Procedures</a:t>
                    </a:r>
                  </a:p>
                </p:txBody>
              </p:sp>
              <p:sp>
                <p:nvSpPr>
                  <p:cNvPr id="22562" name="Oval 14"/>
                  <p:cNvSpPr>
                    <a:spLocks noChangeArrowheads="1"/>
                  </p:cNvSpPr>
                  <p:nvPr/>
                </p:nvSpPr>
                <p:spPr bwMode="auto">
                  <a:xfrm>
                    <a:off x="3350" y="2870"/>
                    <a:ext cx="1008" cy="1008"/>
                  </a:xfrm>
                  <a:prstGeom prst="ellipse">
                    <a:avLst/>
                  </a:prstGeom>
                  <a:solidFill>
                    <a:srgbClr val="003258"/>
                  </a:solidFill>
                  <a:ln w="9525">
                    <a:solidFill>
                      <a:schemeClr val="tx1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563" name="Rectangle 15"/>
                  <p:cNvSpPr>
                    <a:spLocks noChangeArrowheads="1"/>
                  </p:cNvSpPr>
                  <p:nvPr/>
                </p:nvSpPr>
                <p:spPr bwMode="auto">
                  <a:xfrm>
                    <a:off x="3472" y="3086"/>
                    <a:ext cx="763" cy="40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>
                    <a:spAutoFit/>
                  </a:bodyPr>
                  <a:lstStyle/>
                  <a:p>
                    <a:pPr algn="ctr" eaLnBrk="0" hangingPunct="0"/>
                    <a:r>
                      <a:rPr lang="en-US" sz="800" b="1" dirty="0">
                        <a:solidFill>
                          <a:schemeClr val="bg1"/>
                        </a:solidFill>
                      </a:rPr>
                      <a:t>Systems &amp;</a:t>
                    </a:r>
                    <a:br>
                      <a:rPr lang="en-US" sz="800" b="1" dirty="0">
                        <a:solidFill>
                          <a:schemeClr val="bg1"/>
                        </a:solidFill>
                      </a:rPr>
                    </a:br>
                    <a:r>
                      <a:rPr lang="en-US" sz="800" b="1" dirty="0">
                        <a:solidFill>
                          <a:schemeClr val="bg1"/>
                        </a:solidFill>
                      </a:rPr>
                      <a:t>Tools</a:t>
                    </a:r>
                  </a:p>
                </p:txBody>
              </p:sp>
              <p:sp>
                <p:nvSpPr>
                  <p:cNvPr id="22564" name="AutoShape 16"/>
                  <p:cNvSpPr>
                    <a:spLocks noChangeArrowheads="1"/>
                  </p:cNvSpPr>
                  <p:nvPr/>
                </p:nvSpPr>
                <p:spPr bwMode="auto">
                  <a:xfrm>
                    <a:off x="2436" y="3254"/>
                    <a:ext cx="876" cy="270"/>
                  </a:xfrm>
                  <a:prstGeom prst="leftRightArrow">
                    <a:avLst>
                      <a:gd name="adj1" fmla="val 50000"/>
                      <a:gd name="adj2" fmla="val 64889"/>
                    </a:avLst>
                  </a:prstGeom>
                  <a:solidFill>
                    <a:srgbClr val="0094D2"/>
                  </a:solidFill>
                  <a:ln w="9525">
                    <a:solidFill>
                      <a:srgbClr val="0094D2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565" name="AutoShape 17"/>
                  <p:cNvSpPr>
                    <a:spLocks noChangeArrowheads="1"/>
                  </p:cNvSpPr>
                  <p:nvPr/>
                </p:nvSpPr>
                <p:spPr bwMode="auto">
                  <a:xfrm rot="3009898">
                    <a:off x="2988" y="2398"/>
                    <a:ext cx="876" cy="270"/>
                  </a:xfrm>
                  <a:prstGeom prst="leftRightArrow">
                    <a:avLst>
                      <a:gd name="adj1" fmla="val 50000"/>
                      <a:gd name="adj2" fmla="val 64889"/>
                    </a:avLst>
                  </a:prstGeom>
                  <a:solidFill>
                    <a:srgbClr val="0094D2"/>
                  </a:solidFill>
                  <a:ln w="9525">
                    <a:solidFill>
                      <a:srgbClr val="0094D2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566" name="AutoShape 18"/>
                  <p:cNvSpPr>
                    <a:spLocks noChangeArrowheads="1"/>
                  </p:cNvSpPr>
                  <p:nvPr/>
                </p:nvSpPr>
                <p:spPr bwMode="auto">
                  <a:xfrm rot="18590102" flipH="1">
                    <a:off x="1882" y="2398"/>
                    <a:ext cx="876" cy="270"/>
                  </a:xfrm>
                  <a:prstGeom prst="leftRightArrow">
                    <a:avLst>
                      <a:gd name="adj1" fmla="val 50000"/>
                      <a:gd name="adj2" fmla="val 64889"/>
                    </a:avLst>
                  </a:prstGeom>
                  <a:solidFill>
                    <a:srgbClr val="0094D2"/>
                  </a:solidFill>
                  <a:ln w="9525">
                    <a:solidFill>
                      <a:srgbClr val="0094D2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 sz="1200"/>
                  </a:p>
                </p:txBody>
              </p:sp>
            </p:grpSp>
            <p:sp>
              <p:nvSpPr>
                <p:cNvPr id="22535" name="AutoShape 20"/>
                <p:cNvSpPr>
                  <a:spLocks noChangeArrowheads="1"/>
                </p:cNvSpPr>
                <p:nvPr/>
              </p:nvSpPr>
              <p:spPr bwMode="auto">
                <a:xfrm>
                  <a:off x="3909393" y="3548505"/>
                  <a:ext cx="890413" cy="274406"/>
                </a:xfrm>
                <a:prstGeom prst="roundRect">
                  <a:avLst>
                    <a:gd name="adj" fmla="val 16667"/>
                  </a:avLst>
                </a:prstGeom>
                <a:solidFill>
                  <a:schemeClr val="bg2">
                    <a:lumMod val="75000"/>
                  </a:schemeClr>
                </a:solidFill>
                <a:ln w="19050">
                  <a:solidFill>
                    <a:srgbClr val="786654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0" hangingPunct="0"/>
                  <a:r>
                    <a:rPr lang="en-US" sz="900" b="1" dirty="0">
                      <a:solidFill>
                        <a:schemeClr val="bg1"/>
                      </a:solidFill>
                      <a:cs typeface="Arial" pitchFamily="34" charset="0"/>
                    </a:rPr>
                    <a:t>Culture</a:t>
                  </a:r>
                </a:p>
              </p:txBody>
            </p:sp>
          </p:grpSp>
        </p:grpSp>
        <p:grpSp>
          <p:nvGrpSpPr>
            <p:cNvPr id="5" name="Group 69"/>
            <p:cNvGrpSpPr/>
            <p:nvPr/>
          </p:nvGrpSpPr>
          <p:grpSpPr>
            <a:xfrm>
              <a:off x="3926863" y="1671536"/>
              <a:ext cx="3733284" cy="3349899"/>
              <a:chOff x="2402863" y="1990200"/>
              <a:chExt cx="3733284" cy="3349899"/>
            </a:xfrm>
          </p:grpSpPr>
          <p:sp>
            <p:nvSpPr>
              <p:cNvPr id="22554" name="TextBox 36"/>
              <p:cNvSpPr txBox="1">
                <a:spLocks noChangeArrowheads="1"/>
              </p:cNvSpPr>
              <p:nvPr/>
            </p:nvSpPr>
            <p:spPr bwMode="auto">
              <a:xfrm>
                <a:off x="3669476" y="4726380"/>
                <a:ext cx="1365662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070C0"/>
                    </a:solidFill>
                  </a:rPr>
                  <a:t>DCIM/BMS</a:t>
                </a:r>
              </a:p>
            </p:txBody>
          </p:sp>
          <p:grpSp>
            <p:nvGrpSpPr>
              <p:cNvPr id="6" name="Group 68"/>
              <p:cNvGrpSpPr/>
              <p:nvPr/>
            </p:nvGrpSpPr>
            <p:grpSpPr>
              <a:xfrm>
                <a:off x="2402863" y="1990200"/>
                <a:ext cx="3733284" cy="3349899"/>
                <a:chOff x="2402863" y="1990200"/>
                <a:chExt cx="3733284" cy="3349899"/>
              </a:xfrm>
            </p:grpSpPr>
            <p:sp>
              <p:nvSpPr>
                <p:cNvPr id="22550" name="TextBox 32"/>
                <p:cNvSpPr txBox="1">
                  <a:spLocks noChangeArrowheads="1"/>
                </p:cNvSpPr>
                <p:nvPr/>
              </p:nvSpPr>
              <p:spPr bwMode="auto">
                <a:xfrm>
                  <a:off x="2402863" y="3729840"/>
                  <a:ext cx="423386" cy="27699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sz="1200" b="1" dirty="0">
                      <a:solidFill>
                        <a:srgbClr val="0070C0"/>
                      </a:solidFill>
                    </a:rPr>
                    <a:t>Fire</a:t>
                  </a:r>
                </a:p>
              </p:txBody>
            </p:sp>
            <p:sp>
              <p:nvSpPr>
                <p:cNvPr id="22551" name="TextBox 33"/>
                <p:cNvSpPr txBox="1">
                  <a:spLocks noChangeArrowheads="1"/>
                </p:cNvSpPr>
                <p:nvPr/>
              </p:nvSpPr>
              <p:spPr bwMode="auto">
                <a:xfrm>
                  <a:off x="4654196" y="5044869"/>
                  <a:ext cx="934615" cy="27699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sz="1200" b="1" dirty="0">
                      <a:solidFill>
                        <a:srgbClr val="0070C0"/>
                      </a:solidFill>
                    </a:rPr>
                    <a:t>Whitespace</a:t>
                  </a:r>
                </a:p>
              </p:txBody>
            </p:sp>
            <p:sp>
              <p:nvSpPr>
                <p:cNvPr id="22552" name="TextBox 34"/>
                <p:cNvSpPr txBox="1">
                  <a:spLocks noChangeArrowheads="1"/>
                </p:cNvSpPr>
                <p:nvPr/>
              </p:nvSpPr>
              <p:spPr bwMode="auto">
                <a:xfrm>
                  <a:off x="4994155" y="2554805"/>
                  <a:ext cx="592598" cy="27699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sz="1200" b="1" dirty="0">
                      <a:solidFill>
                        <a:srgbClr val="0070C0"/>
                      </a:solidFill>
                    </a:rPr>
                    <a:t>Power</a:t>
                  </a:r>
                </a:p>
              </p:txBody>
            </p:sp>
            <p:sp>
              <p:nvSpPr>
                <p:cNvPr id="22553" name="TextBox 35"/>
                <p:cNvSpPr txBox="1">
                  <a:spLocks noChangeArrowheads="1"/>
                </p:cNvSpPr>
                <p:nvPr/>
              </p:nvSpPr>
              <p:spPr bwMode="auto">
                <a:xfrm>
                  <a:off x="2833478" y="2636649"/>
                  <a:ext cx="667170" cy="27699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sz="1200" b="1" dirty="0">
                      <a:solidFill>
                        <a:srgbClr val="0070C0"/>
                      </a:solidFill>
                    </a:rPr>
                    <a:t>Cooling</a:t>
                  </a:r>
                </a:p>
              </p:txBody>
            </p:sp>
            <p:sp>
              <p:nvSpPr>
                <p:cNvPr id="22555" name="TextBox 37"/>
                <p:cNvSpPr txBox="1">
                  <a:spLocks noChangeArrowheads="1"/>
                </p:cNvSpPr>
                <p:nvPr/>
              </p:nvSpPr>
              <p:spPr bwMode="auto">
                <a:xfrm>
                  <a:off x="5377734" y="3434631"/>
                  <a:ext cx="758413" cy="27699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sz="1200" b="1" dirty="0">
                      <a:solidFill>
                        <a:srgbClr val="0070C0"/>
                      </a:solidFill>
                    </a:rPr>
                    <a:t>Premises</a:t>
                  </a:r>
                </a:p>
              </p:txBody>
            </p:sp>
            <p:sp>
              <p:nvSpPr>
                <p:cNvPr id="22556" name="TextBox 38"/>
                <p:cNvSpPr txBox="1">
                  <a:spLocks noChangeArrowheads="1"/>
                </p:cNvSpPr>
                <p:nvPr/>
              </p:nvSpPr>
              <p:spPr bwMode="auto">
                <a:xfrm>
                  <a:off x="3958524" y="1990200"/>
                  <a:ext cx="660758" cy="27699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sz="1200" b="1" dirty="0" err="1">
                      <a:solidFill>
                        <a:srgbClr val="0070C0"/>
                      </a:solidFill>
                    </a:rPr>
                    <a:t>Comms</a:t>
                  </a:r>
                  <a:endParaRPr lang="en-US" sz="1200" b="1" dirty="0">
                    <a:solidFill>
                      <a:srgbClr val="0070C0"/>
                    </a:solidFill>
                  </a:endParaRPr>
                </a:p>
              </p:txBody>
            </p:sp>
            <p:sp>
              <p:nvSpPr>
                <p:cNvPr id="22557" name="TextBox 39"/>
                <p:cNvSpPr txBox="1">
                  <a:spLocks noChangeArrowheads="1"/>
                </p:cNvSpPr>
                <p:nvPr/>
              </p:nvSpPr>
              <p:spPr bwMode="auto">
                <a:xfrm>
                  <a:off x="3054216" y="5063100"/>
                  <a:ext cx="699230" cy="27699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sz="1200" b="1" dirty="0">
                      <a:solidFill>
                        <a:srgbClr val="0070C0"/>
                      </a:solidFill>
                    </a:rPr>
                    <a:t>Security</a:t>
                  </a:r>
                </a:p>
              </p:txBody>
            </p:sp>
          </p:grpSp>
        </p:grpSp>
        <p:grpSp>
          <p:nvGrpSpPr>
            <p:cNvPr id="7" name="Group 61"/>
            <p:cNvGrpSpPr/>
            <p:nvPr/>
          </p:nvGrpSpPr>
          <p:grpSpPr>
            <a:xfrm>
              <a:off x="6285308" y="1023904"/>
              <a:ext cx="2434688" cy="981477"/>
              <a:chOff x="4761308" y="1342568"/>
              <a:chExt cx="2434688" cy="981477"/>
            </a:xfrm>
          </p:grpSpPr>
          <p:grpSp>
            <p:nvGrpSpPr>
              <p:cNvPr id="8" name="Group 54"/>
              <p:cNvGrpSpPr/>
              <p:nvPr/>
            </p:nvGrpSpPr>
            <p:grpSpPr>
              <a:xfrm>
                <a:off x="4761308" y="1524000"/>
                <a:ext cx="828674" cy="800045"/>
                <a:chOff x="4761308" y="1524000"/>
                <a:chExt cx="828674" cy="800045"/>
              </a:xfrm>
            </p:grpSpPr>
            <p:sp>
              <p:nvSpPr>
                <p:cNvPr id="22536" name="Oval 16"/>
                <p:cNvSpPr>
                  <a:spLocks noChangeArrowheads="1"/>
                </p:cNvSpPr>
                <p:nvPr/>
              </p:nvSpPr>
              <p:spPr bwMode="auto">
                <a:xfrm>
                  <a:off x="4761308" y="1524000"/>
                  <a:ext cx="814660" cy="800045"/>
                </a:xfrm>
                <a:prstGeom prst="ellipse">
                  <a:avLst/>
                </a:prstGeom>
                <a:solidFill>
                  <a:srgbClr val="A1C94E"/>
                </a:solidFill>
                <a:ln w="38100" algn="ctr">
                  <a:solidFill>
                    <a:schemeClr val="bg2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sz="1200"/>
                </a:p>
              </p:txBody>
            </p:sp>
            <p:sp>
              <p:nvSpPr>
                <p:cNvPr id="22543" name="TextBox 25"/>
                <p:cNvSpPr txBox="1">
                  <a:spLocks noChangeArrowheads="1"/>
                </p:cNvSpPr>
                <p:nvPr/>
              </p:nvSpPr>
              <p:spPr bwMode="auto">
                <a:xfrm>
                  <a:off x="4772130" y="1709376"/>
                  <a:ext cx="817852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 b="1" dirty="0">
                      <a:solidFill>
                        <a:schemeClr val="bg1"/>
                      </a:solidFill>
                    </a:rPr>
                    <a:t>Data Centre</a:t>
                  </a:r>
                </a:p>
                <a:p>
                  <a:pPr algn="ctr"/>
                  <a:r>
                    <a:rPr lang="en-US" sz="1000" b="1" dirty="0">
                      <a:solidFill>
                        <a:schemeClr val="bg1"/>
                      </a:solidFill>
                    </a:rPr>
                    <a:t>Operations</a:t>
                  </a:r>
                </a:p>
              </p:txBody>
            </p:sp>
          </p:grpSp>
          <p:sp>
            <p:nvSpPr>
              <p:cNvPr id="40" name="TextBox 39"/>
              <p:cNvSpPr txBox="1"/>
              <p:nvPr/>
            </p:nvSpPr>
            <p:spPr>
              <a:xfrm>
                <a:off x="5562909" y="1342568"/>
                <a:ext cx="1633087" cy="8182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24/7 Monitoring &amp; Alarm Handling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Vendor Management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Change Management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Incident Management &amp; Resolution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PM Management</a:t>
                </a:r>
              </a:p>
            </p:txBody>
          </p:sp>
        </p:grpSp>
        <p:grpSp>
          <p:nvGrpSpPr>
            <p:cNvPr id="9" name="Group 64"/>
            <p:cNvGrpSpPr/>
            <p:nvPr/>
          </p:nvGrpSpPr>
          <p:grpSpPr>
            <a:xfrm>
              <a:off x="7220580" y="3976225"/>
              <a:ext cx="2372558" cy="800045"/>
              <a:chOff x="5696580" y="4294889"/>
              <a:chExt cx="2372558" cy="800045"/>
            </a:xfrm>
          </p:grpSpPr>
          <p:grpSp>
            <p:nvGrpSpPr>
              <p:cNvPr id="10" name="Group 59"/>
              <p:cNvGrpSpPr/>
              <p:nvPr/>
            </p:nvGrpSpPr>
            <p:grpSpPr>
              <a:xfrm>
                <a:off x="5696580" y="4294889"/>
                <a:ext cx="888385" cy="800045"/>
                <a:chOff x="5696580" y="4294889"/>
                <a:chExt cx="888385" cy="800045"/>
              </a:xfrm>
            </p:grpSpPr>
            <p:sp>
              <p:nvSpPr>
                <p:cNvPr id="22538" name="Oval 18"/>
                <p:cNvSpPr>
                  <a:spLocks noChangeArrowheads="1"/>
                </p:cNvSpPr>
                <p:nvPr/>
              </p:nvSpPr>
              <p:spPr bwMode="auto">
                <a:xfrm>
                  <a:off x="5715056" y="4294889"/>
                  <a:ext cx="814660" cy="800045"/>
                </a:xfrm>
                <a:prstGeom prst="ellipse">
                  <a:avLst/>
                </a:prstGeom>
                <a:solidFill>
                  <a:srgbClr val="0070C0"/>
                </a:solidFill>
                <a:ln w="38100" algn="ctr">
                  <a:solidFill>
                    <a:schemeClr val="bg2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sz="1200"/>
                </a:p>
              </p:txBody>
            </p:sp>
            <p:sp>
              <p:nvSpPr>
                <p:cNvPr id="22548" name="TextBox 30"/>
                <p:cNvSpPr txBox="1">
                  <a:spLocks noChangeArrowheads="1"/>
                </p:cNvSpPr>
                <p:nvPr/>
              </p:nvSpPr>
              <p:spPr bwMode="auto">
                <a:xfrm>
                  <a:off x="5696580" y="4459296"/>
                  <a:ext cx="888385" cy="55399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 b="1" dirty="0">
                      <a:solidFill>
                        <a:schemeClr val="bg1"/>
                      </a:solidFill>
                    </a:rPr>
                    <a:t>Joint Quality </a:t>
                  </a:r>
                </a:p>
                <a:p>
                  <a:pPr algn="ctr"/>
                  <a:r>
                    <a:rPr lang="en-US" sz="1000" b="1" dirty="0">
                      <a:solidFill>
                        <a:schemeClr val="bg1"/>
                      </a:solidFill>
                    </a:rPr>
                    <a:t>&amp;</a:t>
                  </a:r>
                </a:p>
                <a:p>
                  <a:pPr algn="ctr"/>
                  <a:r>
                    <a:rPr lang="en-US" sz="1000" b="1" dirty="0">
                      <a:solidFill>
                        <a:schemeClr val="bg1"/>
                      </a:solidFill>
                    </a:rPr>
                    <a:t>Culture</a:t>
                  </a:r>
                </a:p>
              </p:txBody>
            </p:sp>
          </p:grpSp>
          <p:sp>
            <p:nvSpPr>
              <p:cNvPr id="42" name="TextBox 41"/>
              <p:cNvSpPr txBox="1"/>
              <p:nvPr/>
            </p:nvSpPr>
            <p:spPr>
              <a:xfrm>
                <a:off x="6514053" y="4400510"/>
                <a:ext cx="1555085" cy="6738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Documented Quality Management System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Quality Audits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Quality Improvement Initiatives</a:t>
                </a:r>
              </a:p>
            </p:txBody>
          </p:sp>
        </p:grpSp>
        <p:grpSp>
          <p:nvGrpSpPr>
            <p:cNvPr id="11" name="Group 65"/>
            <p:cNvGrpSpPr/>
            <p:nvPr/>
          </p:nvGrpSpPr>
          <p:grpSpPr>
            <a:xfrm>
              <a:off x="5254342" y="4951890"/>
              <a:ext cx="1907943" cy="1122523"/>
              <a:chOff x="3730342" y="5270555"/>
              <a:chExt cx="1907943" cy="1122523"/>
            </a:xfrm>
          </p:grpSpPr>
          <p:grpSp>
            <p:nvGrpSpPr>
              <p:cNvPr id="12" name="Group 58"/>
              <p:cNvGrpSpPr/>
              <p:nvPr/>
            </p:nvGrpSpPr>
            <p:grpSpPr>
              <a:xfrm>
                <a:off x="3946649" y="5270555"/>
                <a:ext cx="814660" cy="800045"/>
                <a:chOff x="3946649" y="5270555"/>
                <a:chExt cx="814660" cy="800045"/>
              </a:xfrm>
            </p:grpSpPr>
            <p:sp>
              <p:nvSpPr>
                <p:cNvPr id="22539" name="Oval 19"/>
                <p:cNvSpPr>
                  <a:spLocks noChangeArrowheads="1"/>
                </p:cNvSpPr>
                <p:nvPr/>
              </p:nvSpPr>
              <p:spPr bwMode="auto">
                <a:xfrm>
                  <a:off x="3946649" y="5270555"/>
                  <a:ext cx="814660" cy="800045"/>
                </a:xfrm>
                <a:prstGeom prst="ellipse">
                  <a:avLst/>
                </a:prstGeom>
                <a:solidFill>
                  <a:srgbClr val="FF0000"/>
                </a:solidFill>
                <a:ln w="38100" algn="ctr">
                  <a:solidFill>
                    <a:schemeClr val="bg2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sz="1200"/>
                </a:p>
              </p:txBody>
            </p:sp>
            <p:sp>
              <p:nvSpPr>
                <p:cNvPr id="22549" name="TextBox 31"/>
                <p:cNvSpPr txBox="1">
                  <a:spLocks noChangeArrowheads="1"/>
                </p:cNvSpPr>
                <p:nvPr/>
              </p:nvSpPr>
              <p:spPr bwMode="auto">
                <a:xfrm>
                  <a:off x="3958757" y="5504714"/>
                  <a:ext cx="795410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 b="1">
                      <a:solidFill>
                        <a:schemeClr val="bg1"/>
                      </a:solidFill>
                    </a:rPr>
                    <a:t>Technology</a:t>
                  </a:r>
                </a:p>
                <a:p>
                  <a:pPr algn="ctr"/>
                  <a:r>
                    <a:rPr lang="en-US" sz="1000" b="1">
                      <a:solidFill>
                        <a:schemeClr val="bg1"/>
                      </a:solidFill>
                    </a:rPr>
                    <a:t>Strategy</a:t>
                  </a:r>
                </a:p>
              </p:txBody>
            </p:sp>
          </p:grpSp>
          <p:sp>
            <p:nvSpPr>
              <p:cNvPr id="43" name="TextBox 42"/>
              <p:cNvSpPr txBox="1"/>
              <p:nvPr/>
            </p:nvSpPr>
            <p:spPr>
              <a:xfrm>
                <a:off x="3730342" y="6008002"/>
                <a:ext cx="1907943" cy="3850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 Customer ownership Strategy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Advisory &amp; </a:t>
                </a:r>
                <a:r>
                  <a:rPr lang="en-US" sz="900" dirty="0" err="1">
                    <a:solidFill>
                      <a:srgbClr val="0070C0"/>
                    </a:solidFill>
                  </a:rPr>
                  <a:t>Worskhops</a:t>
                </a:r>
                <a:endParaRPr lang="en-US" sz="900" dirty="0">
                  <a:solidFill>
                    <a:srgbClr val="0070C0"/>
                  </a:solidFill>
                </a:endParaRPr>
              </a:p>
            </p:txBody>
          </p:sp>
        </p:grpSp>
        <p:grpSp>
          <p:nvGrpSpPr>
            <p:cNvPr id="13" name="Group 66"/>
            <p:cNvGrpSpPr/>
            <p:nvPr/>
          </p:nvGrpSpPr>
          <p:grpSpPr>
            <a:xfrm>
              <a:off x="2526252" y="4073791"/>
              <a:ext cx="1996986" cy="1050997"/>
              <a:chOff x="1002251" y="4392456"/>
              <a:chExt cx="1996986" cy="1050997"/>
            </a:xfrm>
          </p:grpSpPr>
          <p:grpSp>
            <p:nvGrpSpPr>
              <p:cNvPr id="14" name="Group 57"/>
              <p:cNvGrpSpPr/>
              <p:nvPr/>
            </p:nvGrpSpPr>
            <p:grpSpPr>
              <a:xfrm>
                <a:off x="2117265" y="4392456"/>
                <a:ext cx="881972" cy="800045"/>
                <a:chOff x="2117265" y="4392456"/>
                <a:chExt cx="881972" cy="800045"/>
              </a:xfrm>
            </p:grpSpPr>
            <p:sp>
              <p:nvSpPr>
                <p:cNvPr id="22542" name="Oval 23"/>
                <p:cNvSpPr>
                  <a:spLocks noChangeArrowheads="1"/>
                </p:cNvSpPr>
                <p:nvPr/>
              </p:nvSpPr>
              <p:spPr bwMode="auto">
                <a:xfrm>
                  <a:off x="2148437" y="4392456"/>
                  <a:ext cx="814660" cy="800045"/>
                </a:xfrm>
                <a:prstGeom prst="ellipse">
                  <a:avLst/>
                </a:prstGeom>
                <a:solidFill>
                  <a:srgbClr val="CC3300"/>
                </a:solidFill>
                <a:ln w="38100" algn="ctr">
                  <a:solidFill>
                    <a:schemeClr val="bg2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sz="1200"/>
                </a:p>
              </p:txBody>
            </p:sp>
            <p:sp>
              <p:nvSpPr>
                <p:cNvPr id="22546" name="TextBox 28"/>
                <p:cNvSpPr txBox="1">
                  <a:spLocks noChangeArrowheads="1"/>
                </p:cNvSpPr>
                <p:nvPr/>
              </p:nvSpPr>
              <p:spPr bwMode="auto">
                <a:xfrm>
                  <a:off x="2117265" y="4626615"/>
                  <a:ext cx="881972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 b="1" dirty="0">
                      <a:solidFill>
                        <a:schemeClr val="bg1"/>
                      </a:solidFill>
                    </a:rPr>
                    <a:t>Data Centre</a:t>
                  </a:r>
                </a:p>
                <a:p>
                  <a:pPr algn="ctr"/>
                  <a:r>
                    <a:rPr lang="en-US" sz="1000" b="1" dirty="0">
                      <a:solidFill>
                        <a:schemeClr val="bg1"/>
                      </a:solidFill>
                    </a:rPr>
                    <a:t>Optimisation</a:t>
                  </a:r>
                </a:p>
              </p:txBody>
            </p:sp>
          </p:grpSp>
          <p:sp>
            <p:nvSpPr>
              <p:cNvPr id="44" name="TextBox 43"/>
              <p:cNvSpPr txBox="1"/>
              <p:nvPr/>
            </p:nvSpPr>
            <p:spPr>
              <a:xfrm>
                <a:off x="1002251" y="4625167"/>
                <a:ext cx="1436936" cy="8182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Energy &amp; infrastructure Audits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Industry ratings 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Optimization Planning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Tariffs, load profile, power factor and harmonics management</a:t>
                </a:r>
              </a:p>
            </p:txBody>
          </p:sp>
        </p:grpSp>
        <p:grpSp>
          <p:nvGrpSpPr>
            <p:cNvPr id="15" name="Group 63"/>
            <p:cNvGrpSpPr/>
            <p:nvPr/>
          </p:nvGrpSpPr>
          <p:grpSpPr>
            <a:xfrm>
              <a:off x="2314846" y="2288323"/>
              <a:ext cx="6979496" cy="965909"/>
              <a:chOff x="790845" y="2606988"/>
              <a:chExt cx="6979496" cy="965909"/>
            </a:xfrm>
          </p:grpSpPr>
          <p:grpSp>
            <p:nvGrpSpPr>
              <p:cNvPr id="16" name="Group 60"/>
              <p:cNvGrpSpPr/>
              <p:nvPr/>
            </p:nvGrpSpPr>
            <p:grpSpPr>
              <a:xfrm>
                <a:off x="1920822" y="2606988"/>
                <a:ext cx="4682517" cy="965909"/>
                <a:chOff x="1920822" y="2606988"/>
                <a:chExt cx="4682517" cy="965909"/>
              </a:xfrm>
            </p:grpSpPr>
            <p:grpSp>
              <p:nvGrpSpPr>
                <p:cNvPr id="17" name="Group 53"/>
                <p:cNvGrpSpPr/>
                <p:nvPr/>
              </p:nvGrpSpPr>
              <p:grpSpPr>
                <a:xfrm>
                  <a:off x="5784600" y="2606988"/>
                  <a:ext cx="818739" cy="800045"/>
                  <a:chOff x="5784600" y="2606988"/>
                  <a:chExt cx="818739" cy="800045"/>
                </a:xfrm>
              </p:grpSpPr>
              <p:sp>
                <p:nvSpPr>
                  <p:cNvPr id="22541" name="Oval 22"/>
                  <p:cNvSpPr>
                    <a:spLocks noChangeArrowheads="1"/>
                  </p:cNvSpPr>
                  <p:nvPr/>
                </p:nvSpPr>
                <p:spPr bwMode="auto">
                  <a:xfrm>
                    <a:off x="5784600" y="2606988"/>
                    <a:ext cx="814660" cy="800045"/>
                  </a:xfrm>
                  <a:prstGeom prst="ellipse">
                    <a:avLst/>
                  </a:prstGeom>
                  <a:solidFill>
                    <a:srgbClr val="990099"/>
                  </a:solidFill>
                  <a:ln w="38100" algn="ctr">
                    <a:solidFill>
                      <a:schemeClr val="bg2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sz="1200"/>
                  </a:p>
                </p:txBody>
              </p:sp>
              <p:sp>
                <p:nvSpPr>
                  <p:cNvPr id="22544" name="TextBox 26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85487" y="2831391"/>
                    <a:ext cx="817852" cy="40011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pPr algn="ctr"/>
                    <a:r>
                      <a:rPr lang="en-US" sz="1000" b="1" dirty="0">
                        <a:solidFill>
                          <a:schemeClr val="bg1"/>
                        </a:solidFill>
                      </a:rPr>
                      <a:t>Data Centre</a:t>
                    </a:r>
                  </a:p>
                  <a:p>
                    <a:pPr algn="ctr"/>
                    <a:r>
                      <a:rPr lang="en-US" sz="1000" b="1" dirty="0">
                        <a:solidFill>
                          <a:schemeClr val="bg1"/>
                        </a:solidFill>
                      </a:rPr>
                      <a:t>Availability</a:t>
                    </a:r>
                  </a:p>
                </p:txBody>
              </p:sp>
            </p:grpSp>
            <p:grpSp>
              <p:nvGrpSpPr>
                <p:cNvPr id="18" name="Group 56"/>
                <p:cNvGrpSpPr/>
                <p:nvPr/>
              </p:nvGrpSpPr>
              <p:grpSpPr>
                <a:xfrm>
                  <a:off x="1920822" y="2772852"/>
                  <a:ext cx="823708" cy="800045"/>
                  <a:chOff x="1920822" y="2772852"/>
                  <a:chExt cx="823708" cy="800045"/>
                </a:xfrm>
              </p:grpSpPr>
              <p:sp>
                <p:nvSpPr>
                  <p:cNvPr id="22537" name="Oval 17"/>
                  <p:cNvSpPr>
                    <a:spLocks noChangeArrowheads="1"/>
                  </p:cNvSpPr>
                  <p:nvPr/>
                </p:nvSpPr>
                <p:spPr bwMode="auto">
                  <a:xfrm>
                    <a:off x="1929870" y="2772852"/>
                    <a:ext cx="814660" cy="800045"/>
                  </a:xfrm>
                  <a:prstGeom prst="ellipse">
                    <a:avLst/>
                  </a:prstGeom>
                  <a:solidFill>
                    <a:srgbClr val="990099"/>
                  </a:solidFill>
                  <a:ln w="38100" algn="ctr">
                    <a:solidFill>
                      <a:schemeClr val="bg2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sz="1200"/>
                  </a:p>
                </p:txBody>
              </p:sp>
              <p:sp>
                <p:nvSpPr>
                  <p:cNvPr id="22545" name="TextBox 27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920822" y="2997255"/>
                    <a:ext cx="817852" cy="40011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pPr algn="ctr"/>
                    <a:r>
                      <a:rPr lang="en-US" sz="1000" b="1" dirty="0">
                        <a:solidFill>
                          <a:schemeClr val="bg1"/>
                        </a:solidFill>
                      </a:rPr>
                      <a:t>Data Centre</a:t>
                    </a:r>
                  </a:p>
                  <a:p>
                    <a:pPr algn="ctr"/>
                    <a:r>
                      <a:rPr lang="en-US" sz="1000" b="1" dirty="0">
                        <a:solidFill>
                          <a:schemeClr val="bg1"/>
                        </a:solidFill>
                      </a:rPr>
                      <a:t>Capacity</a:t>
                    </a:r>
                  </a:p>
                </p:txBody>
              </p:sp>
            </p:grpSp>
          </p:grpSp>
          <p:sp>
            <p:nvSpPr>
              <p:cNvPr id="41" name="TextBox 40"/>
              <p:cNvSpPr txBox="1"/>
              <p:nvPr/>
            </p:nvSpPr>
            <p:spPr>
              <a:xfrm>
                <a:off x="6592034" y="2660313"/>
                <a:ext cx="1178307" cy="5294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Regular IST Programs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Problem  Management (RCA)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DR and Risk Management</a:t>
                </a:r>
              </a:p>
            </p:txBody>
          </p:sp>
          <p:sp>
            <p:nvSpPr>
              <p:cNvPr id="45" name="TextBox 44"/>
              <p:cNvSpPr txBox="1"/>
              <p:nvPr/>
            </p:nvSpPr>
            <p:spPr>
              <a:xfrm>
                <a:off x="790845" y="2703258"/>
                <a:ext cx="1319610" cy="673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Utilization monitoring &amp; planning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Forecast management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 Refresh &amp; upgrade planning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Floor space planning</a:t>
                </a:r>
              </a:p>
            </p:txBody>
          </p:sp>
        </p:grpSp>
        <p:grpSp>
          <p:nvGrpSpPr>
            <p:cNvPr id="19" name="Group 62"/>
            <p:cNvGrpSpPr/>
            <p:nvPr/>
          </p:nvGrpSpPr>
          <p:grpSpPr>
            <a:xfrm>
              <a:off x="3648553" y="907378"/>
              <a:ext cx="1749101" cy="1107759"/>
              <a:chOff x="2124552" y="1226043"/>
              <a:chExt cx="1749101" cy="1107759"/>
            </a:xfrm>
          </p:grpSpPr>
          <p:grpSp>
            <p:nvGrpSpPr>
              <p:cNvPr id="20" name="Group 55"/>
              <p:cNvGrpSpPr/>
              <p:nvPr/>
            </p:nvGrpSpPr>
            <p:grpSpPr>
              <a:xfrm>
                <a:off x="3050992" y="1533757"/>
                <a:ext cx="822661" cy="800045"/>
                <a:chOff x="3050992" y="1533757"/>
                <a:chExt cx="822661" cy="800045"/>
              </a:xfrm>
            </p:grpSpPr>
            <p:sp>
              <p:nvSpPr>
                <p:cNvPr id="22540" name="Oval 20"/>
                <p:cNvSpPr>
                  <a:spLocks noChangeArrowheads="1"/>
                </p:cNvSpPr>
                <p:nvPr/>
              </p:nvSpPr>
              <p:spPr bwMode="auto">
                <a:xfrm>
                  <a:off x="3052510" y="1533757"/>
                  <a:ext cx="814660" cy="800045"/>
                </a:xfrm>
                <a:prstGeom prst="ellipse">
                  <a:avLst/>
                </a:prstGeom>
                <a:solidFill>
                  <a:schemeClr val="accent2"/>
                </a:solidFill>
                <a:ln w="38100" algn="ctr">
                  <a:solidFill>
                    <a:schemeClr val="bg2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sz="1200"/>
                </a:p>
              </p:txBody>
            </p:sp>
            <p:sp>
              <p:nvSpPr>
                <p:cNvPr id="22547" name="TextBox 29"/>
                <p:cNvSpPr txBox="1">
                  <a:spLocks noChangeArrowheads="1"/>
                </p:cNvSpPr>
                <p:nvPr/>
              </p:nvSpPr>
              <p:spPr bwMode="auto">
                <a:xfrm>
                  <a:off x="3050992" y="1777673"/>
                  <a:ext cx="822661" cy="24622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 b="1" dirty="0">
                      <a:solidFill>
                        <a:schemeClr val="bg1"/>
                      </a:solidFill>
                    </a:rPr>
                    <a:t>Governance</a:t>
                  </a:r>
                </a:p>
              </p:txBody>
            </p:sp>
          </p:grpSp>
          <p:sp>
            <p:nvSpPr>
              <p:cNvPr id="46" name="TextBox 45"/>
              <p:cNvSpPr txBox="1"/>
              <p:nvPr/>
            </p:nvSpPr>
            <p:spPr>
              <a:xfrm>
                <a:off x="2124552" y="1226043"/>
                <a:ext cx="1029804" cy="8182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Reviews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KPI Management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Reporting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Escalation Management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Roles &amp; Responsibilities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522051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>
          <a:xfrm>
            <a:off x="39832" y="142045"/>
            <a:ext cx="10000673" cy="659631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sz="3700" dirty="0"/>
              <a:t>Comprehensive Operation &amp; Management Program</a:t>
            </a:r>
          </a:p>
        </p:txBody>
      </p:sp>
      <p:pic>
        <p:nvPicPr>
          <p:cNvPr id="22835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9105" y="737420"/>
            <a:ext cx="8342313" cy="5483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1F1EAB9-8E07-F84A-9E98-27A930C4A98C}"/>
              </a:ext>
            </a:extLst>
          </p:cNvPr>
          <p:cNvSpPr txBox="1"/>
          <p:nvPr/>
        </p:nvSpPr>
        <p:spPr>
          <a:xfrm>
            <a:off x="8789139" y="1250035"/>
            <a:ext cx="3222746" cy="4832092"/>
          </a:xfrm>
          <a:prstGeom prst="rect">
            <a:avLst/>
          </a:prstGeom>
          <a:solidFill>
            <a:srgbClr val="A1A1A4"/>
          </a:solidFill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v"/>
            </a:pPr>
            <a:r>
              <a:rPr lang="en-US" sz="1400" b="1" dirty="0"/>
              <a:t> Uptime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Critical Systems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Essential Systems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Support Systems</a:t>
            </a:r>
          </a:p>
          <a:p>
            <a:pPr>
              <a:buFont typeface="Wingdings" pitchFamily="2" charset="2"/>
              <a:buChar char="v"/>
            </a:pPr>
            <a:r>
              <a:rPr lang="en-US" sz="1400" dirty="0"/>
              <a:t> </a:t>
            </a:r>
            <a:r>
              <a:rPr lang="en-US" sz="1400" b="1" dirty="0"/>
              <a:t>Performance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Maintenance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Staffing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Security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Emergency Preparedness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Emergency Response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Safety</a:t>
            </a:r>
          </a:p>
          <a:p>
            <a:pPr>
              <a:buFont typeface="Wingdings" pitchFamily="2" charset="2"/>
              <a:buChar char="v"/>
            </a:pPr>
            <a:r>
              <a:rPr lang="en-US" sz="1400" dirty="0"/>
              <a:t> </a:t>
            </a:r>
            <a:r>
              <a:rPr lang="en-US" sz="1400" b="1" dirty="0"/>
              <a:t>Quality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Procedure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Quality Control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Quality Improvement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Training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Process Improvement </a:t>
            </a:r>
          </a:p>
          <a:p>
            <a:pPr>
              <a:buFont typeface="Wingdings" pitchFamily="2" charset="2"/>
              <a:buChar char="v"/>
            </a:pPr>
            <a:r>
              <a:rPr lang="en-US" sz="1400" dirty="0"/>
              <a:t> </a:t>
            </a:r>
            <a:r>
              <a:rPr lang="en-US" sz="1400" b="1" dirty="0"/>
              <a:t>Reporting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Operational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Notification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Financial</a:t>
            </a:r>
          </a:p>
          <a:p>
            <a:pPr lvl="1">
              <a:buFont typeface="Wingdings" pitchFamily="2" charset="2"/>
              <a:buChar char="ü"/>
            </a:pPr>
            <a:endParaRPr lang="en-US" sz="1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7FF780D-033B-0847-A11D-6A48D47F0440}"/>
              </a:ext>
            </a:extLst>
          </p:cNvPr>
          <p:cNvSpPr txBox="1"/>
          <p:nvPr/>
        </p:nvSpPr>
        <p:spPr>
          <a:xfrm>
            <a:off x="8789139" y="737420"/>
            <a:ext cx="3222745" cy="36933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KPI’s</a:t>
            </a:r>
          </a:p>
        </p:txBody>
      </p:sp>
    </p:spTree>
    <p:extLst>
      <p:ext uri="{BB962C8B-B14F-4D97-AF65-F5344CB8AC3E}">
        <p14:creationId xmlns:p14="http://schemas.microsoft.com/office/powerpoint/2010/main" val="10329582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>
          <a:xfrm>
            <a:off x="108857" y="9979"/>
            <a:ext cx="6103258" cy="659631"/>
          </a:xfrm>
          <a:solidFill>
            <a:schemeClr val="accent6"/>
          </a:solidFill>
        </p:spPr>
        <p:txBody>
          <a:bodyPr>
            <a:normAutofit/>
          </a:bodyPr>
          <a:lstStyle/>
          <a:p>
            <a:pPr algn="ctr" eaLnBrk="1" hangingPunct="1"/>
            <a:r>
              <a:rPr lang="en-US" sz="2800" b="1" dirty="0">
                <a:solidFill>
                  <a:schemeClr val="bg1"/>
                </a:solidFill>
              </a:rPr>
              <a:t>Hybrid I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3775BFF-9BA2-8548-AEEF-7D38CAB4D3DF}"/>
              </a:ext>
            </a:extLst>
          </p:cNvPr>
          <p:cNvGrpSpPr/>
          <p:nvPr/>
        </p:nvGrpSpPr>
        <p:grpSpPr>
          <a:xfrm>
            <a:off x="108857" y="659631"/>
            <a:ext cx="6103257" cy="5497542"/>
            <a:chOff x="5638800" y="824230"/>
            <a:chExt cx="6295769" cy="5497542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AD5BA86-D7D6-E241-8283-A10D5B547B58}"/>
                </a:ext>
              </a:extLst>
            </p:cNvPr>
            <p:cNvSpPr/>
            <p:nvPr/>
          </p:nvSpPr>
          <p:spPr>
            <a:xfrm>
              <a:off x="5791200" y="1052830"/>
              <a:ext cx="5943600" cy="51193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: Rounded Corners 10">
              <a:extLst>
                <a:ext uri="{FF2B5EF4-FFF2-40B4-BE49-F238E27FC236}">
                  <a16:creationId xmlns:a16="http://schemas.microsoft.com/office/drawing/2014/main" id="{BFB42381-227E-734B-9F6A-4A83D32A4AC4}"/>
                </a:ext>
              </a:extLst>
            </p:cNvPr>
            <p:cNvSpPr/>
            <p:nvPr/>
          </p:nvSpPr>
          <p:spPr>
            <a:xfrm>
              <a:off x="5638800" y="824230"/>
              <a:ext cx="6295769" cy="5497542"/>
            </a:xfrm>
            <a:prstGeom prst="roundRect">
              <a:avLst>
                <a:gd name="adj" fmla="val 9684"/>
              </a:avLst>
            </a:prstGeom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01600" prst="relaxedInse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BEBCD3E-DFD1-434D-80A1-56A2448A3B8E}"/>
                </a:ext>
              </a:extLst>
            </p:cNvPr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5500" y="1167130"/>
              <a:ext cx="5715000" cy="489077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" name="Title 1">
            <a:extLst>
              <a:ext uri="{FF2B5EF4-FFF2-40B4-BE49-F238E27FC236}">
                <a16:creationId xmlns:a16="http://schemas.microsoft.com/office/drawing/2014/main" id="{C21C8CC8-514A-9748-8D4C-53E4A9AD8D73}"/>
              </a:ext>
            </a:extLst>
          </p:cNvPr>
          <p:cNvSpPr txBox="1">
            <a:spLocks/>
          </p:cNvSpPr>
          <p:nvPr/>
        </p:nvSpPr>
        <p:spPr>
          <a:xfrm>
            <a:off x="6429829" y="0"/>
            <a:ext cx="5617027" cy="659631"/>
          </a:xfrm>
          <a:prstGeom prst="rect">
            <a:avLst/>
          </a:prstGeom>
          <a:solidFill>
            <a:schemeClr val="accent6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rgbClr val="005DA6"/>
                </a:solidFill>
                <a:latin typeface="Roboto Bold"/>
                <a:ea typeface="+mj-ea"/>
                <a:cs typeface="Roboto Bold"/>
              </a:defRPr>
            </a:lvl1pPr>
          </a:lstStyle>
          <a:p>
            <a:pPr algn="ctr"/>
            <a:r>
              <a:rPr lang="en-US" sz="2800" b="1" dirty="0">
                <a:solidFill>
                  <a:schemeClr val="bg1"/>
                </a:solidFill>
              </a:rPr>
              <a:t>Efficient IT</a:t>
            </a:r>
          </a:p>
        </p:txBody>
      </p:sp>
      <p:sp>
        <p:nvSpPr>
          <p:cNvPr id="12" name="Rectangle: Rounded Corners 10">
            <a:extLst>
              <a:ext uri="{FF2B5EF4-FFF2-40B4-BE49-F238E27FC236}">
                <a16:creationId xmlns:a16="http://schemas.microsoft.com/office/drawing/2014/main" id="{D39DCE78-6291-ED4F-8547-58E3EF4DDF33}"/>
              </a:ext>
            </a:extLst>
          </p:cNvPr>
          <p:cNvSpPr/>
          <p:nvPr/>
        </p:nvSpPr>
        <p:spPr>
          <a:xfrm>
            <a:off x="6429829" y="664576"/>
            <a:ext cx="5617027" cy="5497542"/>
          </a:xfrm>
          <a:prstGeom prst="roundRect">
            <a:avLst>
              <a:gd name="adj" fmla="val 9684"/>
            </a:avLst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01600"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4561F5C6-AE74-534E-820F-41E4D41620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31086" y="783771"/>
            <a:ext cx="2769941" cy="52820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E184AB1-CD4C-3A4E-99E8-D993A0BCAC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14332" y="1002531"/>
            <a:ext cx="2670926" cy="5063327"/>
          </a:xfrm>
        </p:spPr>
        <p:txBody>
          <a:bodyPr vert="horz" lIns="91440" tIns="0" rIns="91440" bIns="0" rtlCol="0">
            <a:noAutofit/>
          </a:bodyPr>
          <a:lstStyle/>
          <a:p>
            <a:pPr marL="0" indent="0">
              <a:buNone/>
            </a:pPr>
            <a:r>
              <a:rPr lang="en-US" sz="1600" dirty="0">
                <a:solidFill>
                  <a:srgbClr val="002060"/>
                </a:solidFill>
              </a:rPr>
              <a:t>Orientation call</a:t>
            </a:r>
          </a:p>
          <a:p>
            <a:pPr marL="259074" indent="-228594"/>
            <a:r>
              <a:rPr lang="en-US" sz="1000" dirty="0">
                <a:solidFill>
                  <a:srgbClr val="002060"/>
                </a:solidFill>
              </a:rPr>
              <a:t>Coordinate tasks and schedule; review requirements and expectations for on-site visits</a:t>
            </a:r>
          </a:p>
          <a:p>
            <a:pPr marL="30479" indent="0">
              <a:buNone/>
            </a:pPr>
            <a:r>
              <a:rPr lang="en-US" sz="1600" dirty="0">
                <a:solidFill>
                  <a:srgbClr val="002060"/>
                </a:solidFill>
              </a:rPr>
              <a:t>On-site review</a:t>
            </a:r>
          </a:p>
          <a:p>
            <a:pPr marL="259074" indent="-228594"/>
            <a:r>
              <a:rPr lang="en-US" sz="1000" dirty="0">
                <a:solidFill>
                  <a:srgbClr val="002060"/>
                </a:solidFill>
              </a:rPr>
              <a:t>At each data center, consultants review existing information and tools in use for validation against the EIT criteria</a:t>
            </a:r>
          </a:p>
          <a:p>
            <a:pPr marL="259074" indent="-228594"/>
            <a:r>
              <a:rPr lang="en-US" sz="1000" dirty="0">
                <a:solidFill>
                  <a:srgbClr val="002060"/>
                </a:solidFill>
              </a:rPr>
              <a:t>Leadership interview focused on specific EIT criteria and debrief of initial key findings from the data center visits </a:t>
            </a:r>
          </a:p>
          <a:p>
            <a:pPr marL="259074" indent="-228594"/>
            <a:r>
              <a:rPr lang="en-US" sz="1000" dirty="0">
                <a:solidFill>
                  <a:srgbClr val="002060"/>
                </a:solidFill>
              </a:rPr>
              <a:t>Post-site-visit teleconference</a:t>
            </a:r>
          </a:p>
          <a:p>
            <a:pPr marL="0" indent="0">
              <a:buNone/>
            </a:pPr>
            <a:r>
              <a:rPr lang="en-US" sz="1600" dirty="0">
                <a:solidFill>
                  <a:srgbClr val="002060"/>
                </a:solidFill>
              </a:rPr>
              <a:t>Deliverables</a:t>
            </a:r>
          </a:p>
          <a:p>
            <a:pPr marL="259074" indent="-228594"/>
            <a:r>
              <a:rPr lang="en-US" sz="1000" dirty="0">
                <a:solidFill>
                  <a:srgbClr val="002060"/>
                </a:solidFill>
              </a:rPr>
              <a:t>Overview: score and key findings noting significant accomplishments and areas for improvement</a:t>
            </a:r>
          </a:p>
          <a:p>
            <a:pPr marL="259074" indent="-228594"/>
            <a:r>
              <a:rPr lang="en-US" sz="1000" dirty="0">
                <a:solidFill>
                  <a:srgbClr val="002060"/>
                </a:solidFill>
              </a:rPr>
              <a:t>Detailed findings identify positive site practices and areas that do not meet EIT protocol</a:t>
            </a:r>
          </a:p>
          <a:p>
            <a:pPr marL="259074" indent="-228594"/>
            <a:r>
              <a:rPr lang="en-US" sz="1000" dirty="0">
                <a:solidFill>
                  <a:srgbClr val="002060"/>
                </a:solidFill>
              </a:rPr>
              <a:t>Actionable recommendations on how to improve IT efficiency</a:t>
            </a:r>
          </a:p>
          <a:p>
            <a:pPr marL="259074" indent="-228594"/>
            <a:r>
              <a:rPr lang="en-US" sz="1000" dirty="0">
                <a:solidFill>
                  <a:srgbClr val="002060"/>
                </a:solidFill>
              </a:rPr>
              <a:t>Award letter, electronic stamp, and physical plaque</a:t>
            </a:r>
          </a:p>
        </p:txBody>
      </p:sp>
    </p:spTree>
    <p:extLst>
      <p:ext uri="{BB962C8B-B14F-4D97-AF65-F5344CB8AC3E}">
        <p14:creationId xmlns:p14="http://schemas.microsoft.com/office/powerpoint/2010/main" val="31239788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commended Next Steps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3074" y="1008845"/>
            <a:ext cx="10140725" cy="5180081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Enhance the competency of the Team with Training &amp; accreditation courses</a:t>
            </a:r>
          </a:p>
          <a:p>
            <a:r>
              <a:rPr lang="en-US" dirty="0"/>
              <a:t>For Data Center in Conceptual Phase</a:t>
            </a:r>
          </a:p>
          <a:p>
            <a:pPr lvl="1"/>
            <a:r>
              <a:rPr lang="en-US" dirty="0"/>
              <a:t>Go through Three stage Certification Process</a:t>
            </a:r>
          </a:p>
          <a:p>
            <a:pPr lvl="1"/>
            <a:r>
              <a:rPr lang="en-US" dirty="0"/>
              <a:t>Take Supplementary Services wherever necessary</a:t>
            </a:r>
          </a:p>
          <a:p>
            <a:r>
              <a:rPr lang="en-US" dirty="0"/>
              <a:t>For Existing Data Centers:</a:t>
            </a:r>
          </a:p>
          <a:p>
            <a:pPr lvl="1"/>
            <a:r>
              <a:rPr lang="en-US" dirty="0"/>
              <a:t>Data Center Risk Assessment</a:t>
            </a:r>
          </a:p>
          <a:p>
            <a:pPr lvl="1"/>
            <a:r>
              <a:rPr lang="en-US" dirty="0"/>
              <a:t>Tier Gap Analysis</a:t>
            </a:r>
          </a:p>
          <a:p>
            <a:pPr lvl="1"/>
            <a:r>
              <a:rPr lang="en-US" dirty="0"/>
              <a:t>Based on the Outcome of Tier Gap Analysis or DRA, decide on next steps whether:</a:t>
            </a:r>
          </a:p>
          <a:p>
            <a:pPr lvl="2"/>
            <a:r>
              <a:rPr lang="en-US" dirty="0"/>
              <a:t>Retrofits</a:t>
            </a:r>
          </a:p>
          <a:p>
            <a:pPr lvl="2"/>
            <a:r>
              <a:rPr lang="en-US" dirty="0"/>
              <a:t>Go for three stage certification</a:t>
            </a:r>
          </a:p>
          <a:p>
            <a:pPr lvl="2"/>
            <a:r>
              <a:rPr lang="en-US" dirty="0"/>
              <a:t>Or Management &amp; Operations Stamp Approval</a:t>
            </a:r>
          </a:p>
          <a:p>
            <a:r>
              <a:rPr lang="en-US" dirty="0"/>
              <a:t>Use Supplementary or Advisory Services wherever required</a:t>
            </a:r>
          </a:p>
          <a:p>
            <a:r>
              <a:rPr lang="en-US" dirty="0"/>
              <a:t>Please Leverage Top Ten Consideration while Preparation of Design - Build RFP of Data Center</a:t>
            </a:r>
          </a:p>
        </p:txBody>
      </p:sp>
    </p:spTree>
    <p:extLst>
      <p:ext uri="{BB962C8B-B14F-4D97-AF65-F5344CB8AC3E}">
        <p14:creationId xmlns:p14="http://schemas.microsoft.com/office/powerpoint/2010/main" val="6694495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ChangeArrowheads="1"/>
          </p:cNvSpPr>
          <p:nvPr/>
        </p:nvSpPr>
        <p:spPr bwMode="auto">
          <a:xfrm>
            <a:off x="478971" y="406400"/>
            <a:ext cx="10592894" cy="464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FA8900"/>
              </a:buClr>
              <a:buSzPct val="80000"/>
            </a:pPr>
            <a:r>
              <a:rPr lang="en-US">
                <a:cs typeface="Arial" pitchFamily="34" charset="0"/>
              </a:rPr>
              <a:t>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885557" y="546187"/>
            <a:ext cx="11001643" cy="53104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hangingPunct="0">
              <a:spcAft>
                <a:spcPct val="15000"/>
              </a:spcAft>
              <a:defRPr/>
            </a:pPr>
            <a:r>
              <a:rPr lang="en-US" sz="290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</a:t>
            </a:r>
          </a:p>
        </p:txBody>
      </p:sp>
      <p:sp>
        <p:nvSpPr>
          <p:cNvPr id="3078" name="Freeform 6"/>
          <p:cNvSpPr>
            <a:spLocks noChangeArrowheads="1"/>
          </p:cNvSpPr>
          <p:nvPr/>
        </p:nvSpPr>
        <p:spPr bwMode="auto">
          <a:xfrm>
            <a:off x="2756290" y="619861"/>
            <a:ext cx="9022775" cy="5041823"/>
          </a:xfrm>
          <a:custGeom>
            <a:avLst/>
            <a:gdLst>
              <a:gd name="T0" fmla="*/ 2147483647 w 4172"/>
              <a:gd name="T1" fmla="*/ 2147483647 h 2669"/>
              <a:gd name="T2" fmla="*/ 2147483647 w 4172"/>
              <a:gd name="T3" fmla="*/ 2147483647 h 2669"/>
              <a:gd name="T4" fmla="*/ 2147483647 w 4172"/>
              <a:gd name="T5" fmla="*/ 2147483647 h 2669"/>
              <a:gd name="T6" fmla="*/ 2147483647 w 4172"/>
              <a:gd name="T7" fmla="*/ 2147483647 h 2669"/>
              <a:gd name="T8" fmla="*/ 2147483647 w 4172"/>
              <a:gd name="T9" fmla="*/ 2147483647 h 2669"/>
              <a:gd name="T10" fmla="*/ 2147483647 w 4172"/>
              <a:gd name="T11" fmla="*/ 0 h 2669"/>
              <a:gd name="T12" fmla="*/ 2147483647 w 4172"/>
              <a:gd name="T13" fmla="*/ 0 h 2669"/>
              <a:gd name="T14" fmla="*/ 2147483647 w 4172"/>
              <a:gd name="T15" fmla="*/ 2147483647 h 2669"/>
              <a:gd name="T16" fmla="*/ 2147483647 w 4172"/>
              <a:gd name="T17" fmla="*/ 2147483647 h 266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172"/>
              <a:gd name="T28" fmla="*/ 0 h 2669"/>
              <a:gd name="T29" fmla="*/ 4172 w 4172"/>
              <a:gd name="T30" fmla="*/ 2669 h 266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172" h="2669">
                <a:moveTo>
                  <a:pt x="5" y="2493"/>
                </a:moveTo>
                <a:cubicBezTo>
                  <a:pt x="7" y="2623"/>
                  <a:pt x="88" y="2669"/>
                  <a:pt x="171" y="2669"/>
                </a:cubicBezTo>
                <a:cubicBezTo>
                  <a:pt x="3999" y="2669"/>
                  <a:pt x="3999" y="2669"/>
                  <a:pt x="3999" y="2669"/>
                </a:cubicBezTo>
                <a:cubicBezTo>
                  <a:pt x="4103" y="2669"/>
                  <a:pt x="4170" y="2586"/>
                  <a:pt x="4172" y="2493"/>
                </a:cubicBezTo>
                <a:cubicBezTo>
                  <a:pt x="4172" y="175"/>
                  <a:pt x="4172" y="175"/>
                  <a:pt x="4172" y="175"/>
                </a:cubicBezTo>
                <a:cubicBezTo>
                  <a:pt x="4172" y="53"/>
                  <a:pt x="4120" y="0"/>
                  <a:pt x="3999" y="0"/>
                </a:cubicBezTo>
                <a:cubicBezTo>
                  <a:pt x="171" y="0"/>
                  <a:pt x="171" y="0"/>
                  <a:pt x="171" y="0"/>
                </a:cubicBezTo>
                <a:cubicBezTo>
                  <a:pt x="54" y="0"/>
                  <a:pt x="0" y="36"/>
                  <a:pt x="5" y="175"/>
                </a:cubicBezTo>
                <a:cubicBezTo>
                  <a:pt x="5" y="2493"/>
                  <a:pt x="5" y="2493"/>
                  <a:pt x="5" y="2493"/>
                </a:cubicBezTo>
                <a:close/>
              </a:path>
            </a:pathLst>
          </a:custGeom>
          <a:solidFill>
            <a:srgbClr val="B358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79" name="Freeform 7"/>
          <p:cNvSpPr>
            <a:spLocks noChangeArrowheads="1"/>
          </p:cNvSpPr>
          <p:nvPr/>
        </p:nvSpPr>
        <p:spPr bwMode="auto">
          <a:xfrm>
            <a:off x="2857939" y="699199"/>
            <a:ext cx="8819482" cy="4879367"/>
          </a:xfrm>
          <a:custGeom>
            <a:avLst/>
            <a:gdLst>
              <a:gd name="T0" fmla="*/ 0 w 4078"/>
              <a:gd name="T1" fmla="*/ 2147483647 h 2583"/>
              <a:gd name="T2" fmla="*/ 2147483647 w 4078"/>
              <a:gd name="T3" fmla="*/ 2147483647 h 2583"/>
              <a:gd name="T4" fmla="*/ 2147483647 w 4078"/>
              <a:gd name="T5" fmla="*/ 2147483647 h 2583"/>
              <a:gd name="T6" fmla="*/ 2147483647 w 4078"/>
              <a:gd name="T7" fmla="*/ 2147483647 h 2583"/>
              <a:gd name="T8" fmla="*/ 2147483647 w 4078"/>
              <a:gd name="T9" fmla="*/ 2147483647 h 2583"/>
              <a:gd name="T10" fmla="*/ 2147483647 w 4078"/>
              <a:gd name="T11" fmla="*/ 0 h 2583"/>
              <a:gd name="T12" fmla="*/ 2147483647 w 4078"/>
              <a:gd name="T13" fmla="*/ 2147483647 h 2583"/>
              <a:gd name="T14" fmla="*/ 0 w 4078"/>
              <a:gd name="T15" fmla="*/ 2147483647 h 2583"/>
              <a:gd name="T16" fmla="*/ 0 w 4078"/>
              <a:gd name="T17" fmla="*/ 2147483647 h 258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078"/>
              <a:gd name="T28" fmla="*/ 0 h 2583"/>
              <a:gd name="T29" fmla="*/ 4078 w 4078"/>
              <a:gd name="T30" fmla="*/ 2583 h 258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078" h="2583">
                <a:moveTo>
                  <a:pt x="0" y="2428"/>
                </a:moveTo>
                <a:cubicBezTo>
                  <a:pt x="9" y="2533"/>
                  <a:pt x="36" y="2579"/>
                  <a:pt x="152" y="2583"/>
                </a:cubicBezTo>
                <a:cubicBezTo>
                  <a:pt x="3927" y="2583"/>
                  <a:pt x="3927" y="2583"/>
                  <a:pt x="3927" y="2583"/>
                </a:cubicBezTo>
                <a:cubicBezTo>
                  <a:pt x="4035" y="2583"/>
                  <a:pt x="4077" y="2514"/>
                  <a:pt x="4078" y="2428"/>
                </a:cubicBezTo>
                <a:cubicBezTo>
                  <a:pt x="4078" y="159"/>
                  <a:pt x="4078" y="159"/>
                  <a:pt x="4078" y="159"/>
                </a:cubicBezTo>
                <a:cubicBezTo>
                  <a:pt x="4078" y="46"/>
                  <a:pt x="4030" y="0"/>
                  <a:pt x="3927" y="0"/>
                </a:cubicBezTo>
                <a:cubicBezTo>
                  <a:pt x="152" y="1"/>
                  <a:pt x="152" y="1"/>
                  <a:pt x="152" y="1"/>
                </a:cubicBezTo>
                <a:cubicBezTo>
                  <a:pt x="47" y="4"/>
                  <a:pt x="0" y="27"/>
                  <a:pt x="0" y="159"/>
                </a:cubicBezTo>
                <a:cubicBezTo>
                  <a:pt x="0" y="2428"/>
                  <a:pt x="0" y="2428"/>
                  <a:pt x="0" y="2428"/>
                </a:cubicBezTo>
                <a:close/>
              </a:path>
            </a:pathLst>
          </a:cu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80" name="Freeform 8"/>
          <p:cNvSpPr>
            <a:spLocks noChangeArrowheads="1"/>
          </p:cNvSpPr>
          <p:nvPr/>
        </p:nvSpPr>
        <p:spPr bwMode="auto">
          <a:xfrm>
            <a:off x="3178018" y="5527563"/>
            <a:ext cx="8255017" cy="179457"/>
          </a:xfrm>
          <a:custGeom>
            <a:avLst/>
            <a:gdLst>
              <a:gd name="T0" fmla="*/ 2147483647 w 3817"/>
              <a:gd name="T1" fmla="*/ 0 h 95"/>
              <a:gd name="T2" fmla="*/ 2147483647 w 3817"/>
              <a:gd name="T3" fmla="*/ 2147483647 h 95"/>
              <a:gd name="T4" fmla="*/ 2147483647 w 3817"/>
              <a:gd name="T5" fmla="*/ 2147483647 h 95"/>
              <a:gd name="T6" fmla="*/ 2147483647 w 3817"/>
              <a:gd name="T7" fmla="*/ 2147483647 h 95"/>
              <a:gd name="T8" fmla="*/ 2147483647 w 3817"/>
              <a:gd name="T9" fmla="*/ 0 h 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817"/>
              <a:gd name="T16" fmla="*/ 0 h 95"/>
              <a:gd name="T17" fmla="*/ 3817 w 3817"/>
              <a:gd name="T18" fmla="*/ 95 h 9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817" h="95">
                <a:moveTo>
                  <a:pt x="12" y="0"/>
                </a:moveTo>
                <a:cubicBezTo>
                  <a:pt x="12" y="0"/>
                  <a:pt x="0" y="91"/>
                  <a:pt x="37" y="95"/>
                </a:cubicBezTo>
                <a:cubicBezTo>
                  <a:pt x="37" y="95"/>
                  <a:pt x="3771" y="95"/>
                  <a:pt x="3771" y="95"/>
                </a:cubicBezTo>
                <a:cubicBezTo>
                  <a:pt x="3817" y="95"/>
                  <a:pt x="3801" y="2"/>
                  <a:pt x="3801" y="2"/>
                </a:cubicBezTo>
                <a:cubicBezTo>
                  <a:pt x="3801" y="2"/>
                  <a:pt x="12" y="1"/>
                  <a:pt x="12" y="0"/>
                </a:cubicBezTo>
                <a:close/>
              </a:path>
            </a:pathLst>
          </a:custGeom>
          <a:solidFill>
            <a:srgbClr val="B358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81" name="Freeform 9"/>
          <p:cNvSpPr>
            <a:spLocks noChangeArrowheads="1"/>
          </p:cNvSpPr>
          <p:nvPr/>
        </p:nvSpPr>
        <p:spPr bwMode="auto">
          <a:xfrm>
            <a:off x="3203970" y="5527563"/>
            <a:ext cx="8205276" cy="58559"/>
          </a:xfrm>
          <a:custGeom>
            <a:avLst/>
            <a:gdLst>
              <a:gd name="T0" fmla="*/ 2147483647 w 3794"/>
              <a:gd name="T1" fmla="*/ 2147483647 h 31"/>
              <a:gd name="T2" fmla="*/ 2147483647 w 3794"/>
              <a:gd name="T3" fmla="*/ 2147483647 h 31"/>
              <a:gd name="T4" fmla="*/ 2147483647 w 3794"/>
              <a:gd name="T5" fmla="*/ 2147483647 h 31"/>
              <a:gd name="T6" fmla="*/ 0 w 3794"/>
              <a:gd name="T7" fmla="*/ 0 h 31"/>
              <a:gd name="T8" fmla="*/ 2147483647 w 3794"/>
              <a:gd name="T9" fmla="*/ 2147483647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794"/>
              <a:gd name="T16" fmla="*/ 0 h 31"/>
              <a:gd name="T17" fmla="*/ 3794 w 3794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794" h="31">
                <a:moveTo>
                  <a:pt x="3787" y="1"/>
                </a:moveTo>
                <a:cubicBezTo>
                  <a:pt x="3788" y="19"/>
                  <a:pt x="3794" y="31"/>
                  <a:pt x="3769" y="31"/>
                </a:cubicBezTo>
                <a:cubicBezTo>
                  <a:pt x="33" y="31"/>
                  <a:pt x="33" y="31"/>
                  <a:pt x="33" y="31"/>
                </a:cubicBezTo>
                <a:cubicBezTo>
                  <a:pt x="11" y="31"/>
                  <a:pt x="0" y="17"/>
                  <a:pt x="0" y="0"/>
                </a:cubicBezTo>
                <a:cubicBezTo>
                  <a:pt x="3787" y="1"/>
                  <a:pt x="3787" y="1"/>
                  <a:pt x="3787" y="1"/>
                </a:cubicBezTo>
                <a:close/>
              </a:path>
            </a:pathLst>
          </a:custGeom>
          <a:solidFill>
            <a:srgbClr val="8F460D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3327243" y="5693797"/>
            <a:ext cx="7991169" cy="0"/>
          </a:xfrm>
          <a:prstGeom prst="line">
            <a:avLst/>
          </a:prstGeom>
          <a:noFill/>
          <a:ln w="25400">
            <a:solidFill>
              <a:srgbClr val="B3580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83" name="Freeform 11"/>
          <p:cNvSpPr>
            <a:spLocks/>
          </p:cNvSpPr>
          <p:nvPr/>
        </p:nvSpPr>
        <p:spPr bwMode="auto">
          <a:xfrm>
            <a:off x="11387617" y="640640"/>
            <a:ext cx="363333" cy="260686"/>
          </a:xfrm>
          <a:custGeom>
            <a:avLst/>
            <a:gdLst>
              <a:gd name="T0" fmla="*/ 2147483647 w 168"/>
              <a:gd name="T1" fmla="*/ 2147483647 h 138"/>
              <a:gd name="T2" fmla="*/ 0 w 168"/>
              <a:gd name="T3" fmla="*/ 0 h 138"/>
              <a:gd name="T4" fmla="*/ 0 60000 65536"/>
              <a:gd name="T5" fmla="*/ 0 60000 65536"/>
              <a:gd name="T6" fmla="*/ 0 w 168"/>
              <a:gd name="T7" fmla="*/ 0 h 138"/>
              <a:gd name="T8" fmla="*/ 168 w 168"/>
              <a:gd name="T9" fmla="*/ 138 h 138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68" h="138">
                <a:moveTo>
                  <a:pt x="168" y="138"/>
                </a:moveTo>
                <a:cubicBezTo>
                  <a:pt x="161" y="63"/>
                  <a:pt x="130" y="2"/>
                  <a:pt x="0" y="0"/>
                </a:cubicBezTo>
              </a:path>
            </a:pathLst>
          </a:custGeom>
          <a:noFill/>
          <a:ln w="25400">
            <a:solidFill>
              <a:srgbClr val="FFFFD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2786568" y="899438"/>
            <a:ext cx="0" cy="2784432"/>
          </a:xfrm>
          <a:prstGeom prst="line">
            <a:avLst/>
          </a:prstGeom>
          <a:noFill/>
          <a:ln w="25400">
            <a:solidFill>
              <a:srgbClr val="FFFFD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85" name="Freeform 13"/>
          <p:cNvSpPr>
            <a:spLocks/>
          </p:cNvSpPr>
          <p:nvPr/>
        </p:nvSpPr>
        <p:spPr bwMode="auto">
          <a:xfrm>
            <a:off x="2790893" y="640640"/>
            <a:ext cx="287639" cy="253130"/>
          </a:xfrm>
          <a:custGeom>
            <a:avLst/>
            <a:gdLst>
              <a:gd name="T0" fmla="*/ 0 w 133"/>
              <a:gd name="T1" fmla="*/ 2147483647 h 134"/>
              <a:gd name="T2" fmla="*/ 2147483647 w 133"/>
              <a:gd name="T3" fmla="*/ 0 h 134"/>
              <a:gd name="T4" fmla="*/ 0 60000 65536"/>
              <a:gd name="T5" fmla="*/ 0 60000 65536"/>
              <a:gd name="T6" fmla="*/ 0 w 133"/>
              <a:gd name="T7" fmla="*/ 0 h 134"/>
              <a:gd name="T8" fmla="*/ 133 w 133"/>
              <a:gd name="T9" fmla="*/ 134 h 134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33" h="134">
                <a:moveTo>
                  <a:pt x="0" y="134"/>
                </a:moveTo>
                <a:cubicBezTo>
                  <a:pt x="7" y="55"/>
                  <a:pt x="32" y="3"/>
                  <a:pt x="133" y="0"/>
                </a:cubicBezTo>
              </a:path>
            </a:pathLst>
          </a:custGeom>
          <a:noFill/>
          <a:ln w="25400">
            <a:solidFill>
              <a:srgbClr val="FFFFD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86" name="Freeform 14"/>
          <p:cNvSpPr>
            <a:spLocks noChangeArrowheads="1"/>
          </p:cNvSpPr>
          <p:nvPr/>
        </p:nvSpPr>
        <p:spPr bwMode="auto">
          <a:xfrm>
            <a:off x="9071369" y="5452001"/>
            <a:ext cx="836965" cy="120898"/>
          </a:xfrm>
          <a:custGeom>
            <a:avLst/>
            <a:gdLst>
              <a:gd name="T0" fmla="*/ 2147483647 w 387"/>
              <a:gd name="T1" fmla="*/ 2147483647 h 64"/>
              <a:gd name="T2" fmla="*/ 2147483647 w 387"/>
              <a:gd name="T3" fmla="*/ 2147483647 h 64"/>
              <a:gd name="T4" fmla="*/ 2147483647 w 387"/>
              <a:gd name="T5" fmla="*/ 2147483647 h 64"/>
              <a:gd name="T6" fmla="*/ 2147483647 w 387"/>
              <a:gd name="T7" fmla="*/ 2147483647 h 64"/>
              <a:gd name="T8" fmla="*/ 2147483647 w 387"/>
              <a:gd name="T9" fmla="*/ 0 h 64"/>
              <a:gd name="T10" fmla="*/ 0 w 387"/>
              <a:gd name="T11" fmla="*/ 0 h 64"/>
              <a:gd name="T12" fmla="*/ 0 w 387"/>
              <a:gd name="T13" fmla="*/ 2147483647 h 6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87"/>
              <a:gd name="T22" fmla="*/ 0 h 64"/>
              <a:gd name="T23" fmla="*/ 387 w 387"/>
              <a:gd name="T24" fmla="*/ 64 h 6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87" h="64">
                <a:moveTo>
                  <a:pt x="377" y="64"/>
                </a:moveTo>
                <a:lnTo>
                  <a:pt x="382" y="50"/>
                </a:lnTo>
                <a:lnTo>
                  <a:pt x="387" y="35"/>
                </a:lnTo>
                <a:lnTo>
                  <a:pt x="382" y="17"/>
                </a:lnTo>
                <a:lnTo>
                  <a:pt x="377" y="0"/>
                </a:lnTo>
                <a:lnTo>
                  <a:pt x="0" y="0"/>
                </a:lnTo>
                <a:lnTo>
                  <a:pt x="0" y="64"/>
                </a:lnTo>
                <a:close/>
              </a:path>
            </a:pathLst>
          </a:custGeom>
          <a:solidFill>
            <a:srgbClr val="DCDCDC"/>
          </a:solidFill>
          <a:ln w="25400">
            <a:solidFill>
              <a:srgbClr val="80808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87" name="Rectangle 15"/>
          <p:cNvSpPr>
            <a:spLocks noChangeArrowheads="1"/>
          </p:cNvSpPr>
          <p:nvPr/>
        </p:nvSpPr>
        <p:spPr bwMode="auto">
          <a:xfrm>
            <a:off x="8874563" y="5450113"/>
            <a:ext cx="207619" cy="124676"/>
          </a:xfrm>
          <a:prstGeom prst="rect">
            <a:avLst/>
          </a:prstGeom>
          <a:solidFill>
            <a:srgbClr val="0000FF"/>
          </a:solidFill>
          <a:ln w="12700">
            <a:solidFill>
              <a:srgbClr val="0000FF"/>
            </a:solidFill>
            <a:miter lim="800000"/>
            <a:headEnd/>
            <a:tailEnd/>
          </a:ln>
        </p:spPr>
        <p:txBody>
          <a:bodyPr wrap="none"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3088" name="Rectangle 16"/>
          <p:cNvSpPr>
            <a:spLocks noChangeArrowheads="1"/>
          </p:cNvSpPr>
          <p:nvPr/>
        </p:nvSpPr>
        <p:spPr bwMode="auto">
          <a:xfrm>
            <a:off x="8822658" y="5484115"/>
            <a:ext cx="58392" cy="66117"/>
          </a:xfrm>
          <a:prstGeom prst="rect">
            <a:avLst/>
          </a:prstGeom>
          <a:solidFill>
            <a:srgbClr val="0000FF"/>
          </a:solidFill>
          <a:ln w="12700">
            <a:solidFill>
              <a:srgbClr val="0000FF"/>
            </a:solidFill>
            <a:miter lim="800000"/>
            <a:headEnd/>
            <a:tailEnd/>
          </a:ln>
        </p:spPr>
        <p:txBody>
          <a:bodyPr wrap="none"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3089" name="Rectangle 17"/>
          <p:cNvSpPr>
            <a:spLocks noChangeArrowheads="1"/>
          </p:cNvSpPr>
          <p:nvPr/>
        </p:nvSpPr>
        <p:spPr bwMode="auto">
          <a:xfrm>
            <a:off x="9110297" y="5487892"/>
            <a:ext cx="756944" cy="24558"/>
          </a:xfrm>
          <a:prstGeom prst="rect">
            <a:avLst/>
          </a:prstGeom>
          <a:solidFill>
            <a:srgbClr val="FFFFFF"/>
          </a:solidFill>
          <a:ln w="12700">
            <a:noFill/>
            <a:miter lim="800000"/>
            <a:headEnd/>
            <a:tailEnd/>
          </a:ln>
        </p:spPr>
        <p:txBody>
          <a:bodyPr wrap="none"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3090" name="Rectangle 18"/>
          <p:cNvSpPr>
            <a:spLocks noChangeArrowheads="1"/>
          </p:cNvSpPr>
          <p:nvPr/>
        </p:nvSpPr>
        <p:spPr bwMode="auto">
          <a:xfrm>
            <a:off x="8907002" y="5495448"/>
            <a:ext cx="164365" cy="17002"/>
          </a:xfrm>
          <a:prstGeom prst="rect">
            <a:avLst/>
          </a:prstGeom>
          <a:solidFill>
            <a:srgbClr val="AEE0FF"/>
          </a:solidFill>
          <a:ln w="12700">
            <a:noFill/>
            <a:miter lim="800000"/>
            <a:headEnd/>
            <a:tailEnd/>
          </a:ln>
        </p:spPr>
        <p:txBody>
          <a:bodyPr wrap="none"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3091" name="Freeform 19"/>
          <p:cNvSpPr>
            <a:spLocks noChangeArrowheads="1"/>
          </p:cNvSpPr>
          <p:nvPr/>
        </p:nvSpPr>
        <p:spPr bwMode="auto">
          <a:xfrm>
            <a:off x="7470972" y="5520006"/>
            <a:ext cx="878055" cy="52893"/>
          </a:xfrm>
          <a:custGeom>
            <a:avLst/>
            <a:gdLst>
              <a:gd name="T0" fmla="*/ 2147483647 w 406"/>
              <a:gd name="T1" fmla="*/ 2147483647 h 28"/>
              <a:gd name="T2" fmla="*/ 2147483647 w 406"/>
              <a:gd name="T3" fmla="*/ 2147483647 h 28"/>
              <a:gd name="T4" fmla="*/ 2147483647 w 406"/>
              <a:gd name="T5" fmla="*/ 2147483647 h 28"/>
              <a:gd name="T6" fmla="*/ 2147483647 w 406"/>
              <a:gd name="T7" fmla="*/ 2147483647 h 28"/>
              <a:gd name="T8" fmla="*/ 2147483647 w 406"/>
              <a:gd name="T9" fmla="*/ 2147483647 h 28"/>
              <a:gd name="T10" fmla="*/ 2147483647 w 406"/>
              <a:gd name="T11" fmla="*/ 2147483647 h 28"/>
              <a:gd name="T12" fmla="*/ 2147483647 w 406"/>
              <a:gd name="T13" fmla="*/ 2147483647 h 28"/>
              <a:gd name="T14" fmla="*/ 0 w 406"/>
              <a:gd name="T15" fmla="*/ 2147483647 h 28"/>
              <a:gd name="T16" fmla="*/ 2147483647 w 406"/>
              <a:gd name="T17" fmla="*/ 0 h 28"/>
              <a:gd name="T18" fmla="*/ 2147483647 w 406"/>
              <a:gd name="T19" fmla="*/ 2147483647 h 2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06"/>
              <a:gd name="T31" fmla="*/ 0 h 28"/>
              <a:gd name="T32" fmla="*/ 406 w 406"/>
              <a:gd name="T33" fmla="*/ 28 h 2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06" h="28">
                <a:moveTo>
                  <a:pt x="406" y="28"/>
                </a:moveTo>
                <a:lnTo>
                  <a:pt x="398" y="18"/>
                </a:lnTo>
                <a:lnTo>
                  <a:pt x="392" y="28"/>
                </a:lnTo>
                <a:lnTo>
                  <a:pt x="389" y="22"/>
                </a:lnTo>
                <a:lnTo>
                  <a:pt x="381" y="28"/>
                </a:lnTo>
                <a:lnTo>
                  <a:pt x="13" y="28"/>
                </a:lnTo>
                <a:lnTo>
                  <a:pt x="8" y="16"/>
                </a:lnTo>
                <a:lnTo>
                  <a:pt x="0" y="28"/>
                </a:lnTo>
                <a:lnTo>
                  <a:pt x="5" y="0"/>
                </a:lnTo>
                <a:lnTo>
                  <a:pt x="398" y="3"/>
                </a:lnTo>
                <a:close/>
              </a:path>
            </a:pathLst>
          </a:custGeom>
          <a:solidFill>
            <a:srgbClr val="C0C0C0"/>
          </a:solidFill>
          <a:ln w="25400">
            <a:solidFill>
              <a:srgbClr val="C0C0C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92" name="Freeform 20"/>
          <p:cNvSpPr>
            <a:spLocks noChangeArrowheads="1"/>
          </p:cNvSpPr>
          <p:nvPr/>
        </p:nvSpPr>
        <p:spPr bwMode="auto">
          <a:xfrm>
            <a:off x="7479622" y="5338659"/>
            <a:ext cx="856428" cy="181347"/>
          </a:xfrm>
          <a:custGeom>
            <a:avLst/>
            <a:gdLst>
              <a:gd name="T0" fmla="*/ 2147483647 w 396"/>
              <a:gd name="T1" fmla="*/ 0 h 96"/>
              <a:gd name="T2" fmla="*/ 2147483647 w 396"/>
              <a:gd name="T3" fmla="*/ 0 h 96"/>
              <a:gd name="T4" fmla="*/ 2147483647 w 396"/>
              <a:gd name="T5" fmla="*/ 2147483647 h 96"/>
              <a:gd name="T6" fmla="*/ 2147483647 w 396"/>
              <a:gd name="T7" fmla="*/ 2147483647 h 96"/>
              <a:gd name="T8" fmla="*/ 2147483647 w 396"/>
              <a:gd name="T9" fmla="*/ 2147483647 h 96"/>
              <a:gd name="T10" fmla="*/ 0 w 396"/>
              <a:gd name="T11" fmla="*/ 2147483647 h 96"/>
              <a:gd name="T12" fmla="*/ 0 w 396"/>
              <a:gd name="T13" fmla="*/ 2147483647 h 96"/>
              <a:gd name="T14" fmla="*/ 2147483647 w 396"/>
              <a:gd name="T15" fmla="*/ 2147483647 h 9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96"/>
              <a:gd name="T25" fmla="*/ 0 h 96"/>
              <a:gd name="T26" fmla="*/ 396 w 396"/>
              <a:gd name="T27" fmla="*/ 96 h 9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96" h="96">
                <a:moveTo>
                  <a:pt x="15" y="0"/>
                </a:moveTo>
                <a:lnTo>
                  <a:pt x="381" y="0"/>
                </a:lnTo>
                <a:lnTo>
                  <a:pt x="390" y="5"/>
                </a:lnTo>
                <a:lnTo>
                  <a:pt x="396" y="13"/>
                </a:lnTo>
                <a:lnTo>
                  <a:pt x="396" y="96"/>
                </a:lnTo>
                <a:lnTo>
                  <a:pt x="0" y="96"/>
                </a:lnTo>
                <a:lnTo>
                  <a:pt x="0" y="15"/>
                </a:lnTo>
                <a:lnTo>
                  <a:pt x="6" y="6"/>
                </a:lnTo>
                <a:close/>
              </a:path>
            </a:pathLst>
          </a:custGeom>
          <a:solidFill>
            <a:srgbClr val="EADC8E"/>
          </a:solidFill>
          <a:ln w="25400">
            <a:solidFill>
              <a:srgbClr val="80808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93" name="Line 21"/>
          <p:cNvSpPr>
            <a:spLocks noChangeShapeType="1"/>
          </p:cNvSpPr>
          <p:nvPr/>
        </p:nvSpPr>
        <p:spPr bwMode="auto">
          <a:xfrm>
            <a:off x="7531528" y="5348104"/>
            <a:ext cx="750457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94" name="Freeform 22"/>
          <p:cNvSpPr>
            <a:spLocks noChangeArrowheads="1"/>
          </p:cNvSpPr>
          <p:nvPr/>
        </p:nvSpPr>
        <p:spPr bwMode="auto">
          <a:xfrm>
            <a:off x="2485955" y="2454110"/>
            <a:ext cx="80019" cy="35892"/>
          </a:xfrm>
          <a:custGeom>
            <a:avLst/>
            <a:gdLst>
              <a:gd name="T0" fmla="*/ 2147483647 w 37"/>
              <a:gd name="T1" fmla="*/ 2147483647 h 19"/>
              <a:gd name="T2" fmla="*/ 2147483647 w 37"/>
              <a:gd name="T3" fmla="*/ 2147483647 h 19"/>
              <a:gd name="T4" fmla="*/ 2147483647 w 37"/>
              <a:gd name="T5" fmla="*/ 0 h 19"/>
              <a:gd name="T6" fmla="*/ 2147483647 w 37"/>
              <a:gd name="T7" fmla="*/ 2147483647 h 19"/>
              <a:gd name="T8" fmla="*/ 0 w 37"/>
              <a:gd name="T9" fmla="*/ 2147483647 h 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7"/>
              <a:gd name="T16" fmla="*/ 0 h 19"/>
              <a:gd name="T17" fmla="*/ 37 w 37"/>
              <a:gd name="T18" fmla="*/ 19 h 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7" h="19">
                <a:moveTo>
                  <a:pt x="32" y="12"/>
                </a:moveTo>
                <a:lnTo>
                  <a:pt x="37" y="10"/>
                </a:lnTo>
                <a:lnTo>
                  <a:pt x="32" y="0"/>
                </a:lnTo>
                <a:lnTo>
                  <a:pt x="2" y="12"/>
                </a:lnTo>
                <a:lnTo>
                  <a:pt x="0" y="19"/>
                </a:lnTo>
                <a:close/>
              </a:path>
            </a:pathLst>
          </a:custGeom>
          <a:solidFill>
            <a:srgbClr val="000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95" name="Freeform 23"/>
          <p:cNvSpPr>
            <a:spLocks noChangeArrowheads="1"/>
          </p:cNvSpPr>
          <p:nvPr/>
        </p:nvSpPr>
        <p:spPr bwMode="auto">
          <a:xfrm>
            <a:off x="1508415" y="2182089"/>
            <a:ext cx="1111627" cy="995520"/>
          </a:xfrm>
          <a:custGeom>
            <a:avLst/>
            <a:gdLst>
              <a:gd name="T0" fmla="*/ 2147483647 w 514"/>
              <a:gd name="T1" fmla="*/ 2147483647 h 527"/>
              <a:gd name="T2" fmla="*/ 2147483647 w 514"/>
              <a:gd name="T3" fmla="*/ 2147483647 h 527"/>
              <a:gd name="T4" fmla="*/ 2147483647 w 514"/>
              <a:gd name="T5" fmla="*/ 2147483647 h 527"/>
              <a:gd name="T6" fmla="*/ 2147483647 w 514"/>
              <a:gd name="T7" fmla="*/ 2147483647 h 527"/>
              <a:gd name="T8" fmla="*/ 2147483647 w 514"/>
              <a:gd name="T9" fmla="*/ 2147483647 h 527"/>
              <a:gd name="T10" fmla="*/ 2147483647 w 514"/>
              <a:gd name="T11" fmla="*/ 2147483647 h 527"/>
              <a:gd name="T12" fmla="*/ 2147483647 w 514"/>
              <a:gd name="T13" fmla="*/ 2147483647 h 527"/>
              <a:gd name="T14" fmla="*/ 2147483647 w 514"/>
              <a:gd name="T15" fmla="*/ 2147483647 h 527"/>
              <a:gd name="T16" fmla="*/ 2147483647 w 514"/>
              <a:gd name="T17" fmla="*/ 2147483647 h 527"/>
              <a:gd name="T18" fmla="*/ 2147483647 w 514"/>
              <a:gd name="T19" fmla="*/ 2147483647 h 527"/>
              <a:gd name="T20" fmla="*/ 2147483647 w 514"/>
              <a:gd name="T21" fmla="*/ 2147483647 h 527"/>
              <a:gd name="T22" fmla="*/ 2147483647 w 514"/>
              <a:gd name="T23" fmla="*/ 2147483647 h 527"/>
              <a:gd name="T24" fmla="*/ 2147483647 w 514"/>
              <a:gd name="T25" fmla="*/ 2147483647 h 527"/>
              <a:gd name="T26" fmla="*/ 2147483647 w 514"/>
              <a:gd name="T27" fmla="*/ 2147483647 h 527"/>
              <a:gd name="T28" fmla="*/ 2147483647 w 514"/>
              <a:gd name="T29" fmla="*/ 2147483647 h 527"/>
              <a:gd name="T30" fmla="*/ 2147483647 w 514"/>
              <a:gd name="T31" fmla="*/ 2147483647 h 527"/>
              <a:gd name="T32" fmla="*/ 2147483647 w 514"/>
              <a:gd name="T33" fmla="*/ 2147483647 h 527"/>
              <a:gd name="T34" fmla="*/ 2147483647 w 514"/>
              <a:gd name="T35" fmla="*/ 2147483647 h 527"/>
              <a:gd name="T36" fmla="*/ 2147483647 w 514"/>
              <a:gd name="T37" fmla="*/ 2147483647 h 527"/>
              <a:gd name="T38" fmla="*/ 2147483647 w 514"/>
              <a:gd name="T39" fmla="*/ 2147483647 h 527"/>
              <a:gd name="T40" fmla="*/ 2147483647 w 514"/>
              <a:gd name="T41" fmla="*/ 2147483647 h 527"/>
              <a:gd name="T42" fmla="*/ 2147483647 w 514"/>
              <a:gd name="T43" fmla="*/ 2147483647 h 527"/>
              <a:gd name="T44" fmla="*/ 2147483647 w 514"/>
              <a:gd name="T45" fmla="*/ 2147483647 h 527"/>
              <a:gd name="T46" fmla="*/ 2147483647 w 514"/>
              <a:gd name="T47" fmla="*/ 2147483647 h 527"/>
              <a:gd name="T48" fmla="*/ 2147483647 w 514"/>
              <a:gd name="T49" fmla="*/ 2147483647 h 527"/>
              <a:gd name="T50" fmla="*/ 2147483647 w 514"/>
              <a:gd name="T51" fmla="*/ 2147483647 h 527"/>
              <a:gd name="T52" fmla="*/ 2147483647 w 514"/>
              <a:gd name="T53" fmla="*/ 2147483647 h 527"/>
              <a:gd name="T54" fmla="*/ 2147483647 w 514"/>
              <a:gd name="T55" fmla="*/ 2147483647 h 527"/>
              <a:gd name="T56" fmla="*/ 2147483647 w 514"/>
              <a:gd name="T57" fmla="*/ 2147483647 h 527"/>
              <a:gd name="T58" fmla="*/ 2147483647 w 514"/>
              <a:gd name="T59" fmla="*/ 2147483647 h 527"/>
              <a:gd name="T60" fmla="*/ 2147483647 w 514"/>
              <a:gd name="T61" fmla="*/ 2147483647 h 527"/>
              <a:gd name="T62" fmla="*/ 2147483647 w 514"/>
              <a:gd name="T63" fmla="*/ 2147483647 h 527"/>
              <a:gd name="T64" fmla="*/ 2147483647 w 514"/>
              <a:gd name="T65" fmla="*/ 2147483647 h 527"/>
              <a:gd name="T66" fmla="*/ 2147483647 w 514"/>
              <a:gd name="T67" fmla="*/ 2147483647 h 527"/>
              <a:gd name="T68" fmla="*/ 0 w 514"/>
              <a:gd name="T69" fmla="*/ 2147483647 h 527"/>
              <a:gd name="T70" fmla="*/ 0 w 514"/>
              <a:gd name="T71" fmla="*/ 2147483647 h 527"/>
              <a:gd name="T72" fmla="*/ 2147483647 w 514"/>
              <a:gd name="T73" fmla="*/ 2147483647 h 527"/>
              <a:gd name="T74" fmla="*/ 2147483647 w 514"/>
              <a:gd name="T75" fmla="*/ 2147483647 h 527"/>
              <a:gd name="T76" fmla="*/ 2147483647 w 514"/>
              <a:gd name="T77" fmla="*/ 2147483647 h 527"/>
              <a:gd name="T78" fmla="*/ 2147483647 w 514"/>
              <a:gd name="T79" fmla="*/ 0 h 527"/>
              <a:gd name="T80" fmla="*/ 2147483647 w 514"/>
              <a:gd name="T81" fmla="*/ 2147483647 h 527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514"/>
              <a:gd name="T124" fmla="*/ 0 h 527"/>
              <a:gd name="T125" fmla="*/ 514 w 514"/>
              <a:gd name="T126" fmla="*/ 527 h 527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514" h="527">
                <a:moveTo>
                  <a:pt x="483" y="47"/>
                </a:moveTo>
                <a:lnTo>
                  <a:pt x="493" y="84"/>
                </a:lnTo>
                <a:lnTo>
                  <a:pt x="494" y="109"/>
                </a:lnTo>
                <a:lnTo>
                  <a:pt x="487" y="125"/>
                </a:lnTo>
                <a:lnTo>
                  <a:pt x="480" y="144"/>
                </a:lnTo>
                <a:lnTo>
                  <a:pt x="468" y="154"/>
                </a:lnTo>
                <a:lnTo>
                  <a:pt x="469" y="171"/>
                </a:lnTo>
                <a:lnTo>
                  <a:pt x="477" y="195"/>
                </a:lnTo>
                <a:lnTo>
                  <a:pt x="489" y="217"/>
                </a:lnTo>
                <a:lnTo>
                  <a:pt x="505" y="234"/>
                </a:lnTo>
                <a:lnTo>
                  <a:pt x="509" y="243"/>
                </a:lnTo>
                <a:lnTo>
                  <a:pt x="510" y="259"/>
                </a:lnTo>
                <a:lnTo>
                  <a:pt x="514" y="264"/>
                </a:lnTo>
                <a:lnTo>
                  <a:pt x="476" y="287"/>
                </a:lnTo>
                <a:lnTo>
                  <a:pt x="476" y="305"/>
                </a:lnTo>
                <a:lnTo>
                  <a:pt x="477" y="314"/>
                </a:lnTo>
                <a:lnTo>
                  <a:pt x="478" y="338"/>
                </a:lnTo>
                <a:lnTo>
                  <a:pt x="473" y="369"/>
                </a:lnTo>
                <a:lnTo>
                  <a:pt x="460" y="411"/>
                </a:lnTo>
                <a:lnTo>
                  <a:pt x="452" y="436"/>
                </a:lnTo>
                <a:lnTo>
                  <a:pt x="452" y="459"/>
                </a:lnTo>
                <a:lnTo>
                  <a:pt x="454" y="478"/>
                </a:lnTo>
                <a:lnTo>
                  <a:pt x="452" y="493"/>
                </a:lnTo>
                <a:lnTo>
                  <a:pt x="434" y="519"/>
                </a:lnTo>
                <a:lnTo>
                  <a:pt x="407" y="527"/>
                </a:lnTo>
                <a:lnTo>
                  <a:pt x="362" y="527"/>
                </a:lnTo>
                <a:lnTo>
                  <a:pt x="344" y="527"/>
                </a:lnTo>
                <a:lnTo>
                  <a:pt x="273" y="479"/>
                </a:lnTo>
                <a:lnTo>
                  <a:pt x="209" y="454"/>
                </a:lnTo>
                <a:lnTo>
                  <a:pt x="160" y="440"/>
                </a:lnTo>
                <a:lnTo>
                  <a:pt x="103" y="440"/>
                </a:lnTo>
                <a:lnTo>
                  <a:pt x="54" y="440"/>
                </a:lnTo>
                <a:lnTo>
                  <a:pt x="11" y="440"/>
                </a:lnTo>
                <a:lnTo>
                  <a:pt x="4" y="434"/>
                </a:lnTo>
                <a:lnTo>
                  <a:pt x="0" y="402"/>
                </a:lnTo>
                <a:lnTo>
                  <a:pt x="0" y="381"/>
                </a:lnTo>
                <a:lnTo>
                  <a:pt x="153" y="296"/>
                </a:lnTo>
                <a:lnTo>
                  <a:pt x="208" y="192"/>
                </a:lnTo>
                <a:lnTo>
                  <a:pt x="282" y="102"/>
                </a:lnTo>
                <a:lnTo>
                  <a:pt x="471" y="0"/>
                </a:lnTo>
                <a:lnTo>
                  <a:pt x="474" y="5"/>
                </a:lnTo>
                <a:close/>
              </a:path>
            </a:pathLst>
          </a:custGeom>
          <a:solidFill>
            <a:srgbClr val="FFC17D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96" name="Freeform 24"/>
          <p:cNvSpPr>
            <a:spLocks noChangeArrowheads="1"/>
          </p:cNvSpPr>
          <p:nvPr/>
        </p:nvSpPr>
        <p:spPr bwMode="auto">
          <a:xfrm>
            <a:off x="1147243" y="1683384"/>
            <a:ext cx="1410079" cy="1208980"/>
          </a:xfrm>
          <a:custGeom>
            <a:avLst/>
            <a:gdLst>
              <a:gd name="T0" fmla="*/ 2147483647 w 652"/>
              <a:gd name="T1" fmla="*/ 2147483647 h 640"/>
              <a:gd name="T2" fmla="*/ 2147483647 w 652"/>
              <a:gd name="T3" fmla="*/ 2147483647 h 640"/>
              <a:gd name="T4" fmla="*/ 2147483647 w 652"/>
              <a:gd name="T5" fmla="*/ 2147483647 h 640"/>
              <a:gd name="T6" fmla="*/ 2147483647 w 652"/>
              <a:gd name="T7" fmla="*/ 2147483647 h 640"/>
              <a:gd name="T8" fmla="*/ 2147483647 w 652"/>
              <a:gd name="T9" fmla="*/ 2147483647 h 640"/>
              <a:gd name="T10" fmla="*/ 2147483647 w 652"/>
              <a:gd name="T11" fmla="*/ 2147483647 h 640"/>
              <a:gd name="T12" fmla="*/ 2147483647 w 652"/>
              <a:gd name="T13" fmla="*/ 2147483647 h 640"/>
              <a:gd name="T14" fmla="*/ 2147483647 w 652"/>
              <a:gd name="T15" fmla="*/ 2147483647 h 640"/>
              <a:gd name="T16" fmla="*/ 2147483647 w 652"/>
              <a:gd name="T17" fmla="*/ 2147483647 h 640"/>
              <a:gd name="T18" fmla="*/ 2147483647 w 652"/>
              <a:gd name="T19" fmla="*/ 2147483647 h 640"/>
              <a:gd name="T20" fmla="*/ 2147483647 w 652"/>
              <a:gd name="T21" fmla="*/ 2147483647 h 640"/>
              <a:gd name="T22" fmla="*/ 2147483647 w 652"/>
              <a:gd name="T23" fmla="*/ 2147483647 h 640"/>
              <a:gd name="T24" fmla="*/ 2147483647 w 652"/>
              <a:gd name="T25" fmla="*/ 2147483647 h 640"/>
              <a:gd name="T26" fmla="*/ 2147483647 w 652"/>
              <a:gd name="T27" fmla="*/ 2147483647 h 640"/>
              <a:gd name="T28" fmla="*/ 2147483647 w 652"/>
              <a:gd name="T29" fmla="*/ 2147483647 h 640"/>
              <a:gd name="T30" fmla="*/ 2147483647 w 652"/>
              <a:gd name="T31" fmla="*/ 2147483647 h 640"/>
              <a:gd name="T32" fmla="*/ 2147483647 w 652"/>
              <a:gd name="T33" fmla="*/ 2147483647 h 640"/>
              <a:gd name="T34" fmla="*/ 2147483647 w 652"/>
              <a:gd name="T35" fmla="*/ 2147483647 h 640"/>
              <a:gd name="T36" fmla="*/ 2147483647 w 652"/>
              <a:gd name="T37" fmla="*/ 2147483647 h 640"/>
              <a:gd name="T38" fmla="*/ 2147483647 w 652"/>
              <a:gd name="T39" fmla="*/ 2147483647 h 640"/>
              <a:gd name="T40" fmla="*/ 2147483647 w 652"/>
              <a:gd name="T41" fmla="*/ 2147483647 h 640"/>
              <a:gd name="T42" fmla="*/ 2147483647 w 652"/>
              <a:gd name="T43" fmla="*/ 2147483647 h 640"/>
              <a:gd name="T44" fmla="*/ 2147483647 w 652"/>
              <a:gd name="T45" fmla="*/ 2147483647 h 640"/>
              <a:gd name="T46" fmla="*/ 2147483647 w 652"/>
              <a:gd name="T47" fmla="*/ 0 h 640"/>
              <a:gd name="T48" fmla="*/ 2147483647 w 652"/>
              <a:gd name="T49" fmla="*/ 2147483647 h 640"/>
              <a:gd name="T50" fmla="*/ 2147483647 w 652"/>
              <a:gd name="T51" fmla="*/ 2147483647 h 640"/>
              <a:gd name="T52" fmla="*/ 2147483647 w 652"/>
              <a:gd name="T53" fmla="*/ 2147483647 h 640"/>
              <a:gd name="T54" fmla="*/ 2147483647 w 652"/>
              <a:gd name="T55" fmla="*/ 2147483647 h 640"/>
              <a:gd name="T56" fmla="*/ 2147483647 w 652"/>
              <a:gd name="T57" fmla="*/ 2147483647 h 640"/>
              <a:gd name="T58" fmla="*/ 2147483647 w 652"/>
              <a:gd name="T59" fmla="*/ 2147483647 h 640"/>
              <a:gd name="T60" fmla="*/ 2147483647 w 652"/>
              <a:gd name="T61" fmla="*/ 2147483647 h 640"/>
              <a:gd name="T62" fmla="*/ 2147483647 w 652"/>
              <a:gd name="T63" fmla="*/ 2147483647 h 640"/>
              <a:gd name="T64" fmla="*/ 2147483647 w 652"/>
              <a:gd name="T65" fmla="*/ 2147483647 h 640"/>
              <a:gd name="T66" fmla="*/ 0 w 652"/>
              <a:gd name="T67" fmla="*/ 2147483647 h 640"/>
              <a:gd name="T68" fmla="*/ 0 w 652"/>
              <a:gd name="T69" fmla="*/ 2147483647 h 640"/>
              <a:gd name="T70" fmla="*/ 2147483647 w 652"/>
              <a:gd name="T71" fmla="*/ 2147483647 h 640"/>
              <a:gd name="T72" fmla="*/ 2147483647 w 652"/>
              <a:gd name="T73" fmla="*/ 2147483647 h 640"/>
              <a:gd name="T74" fmla="*/ 2147483647 w 652"/>
              <a:gd name="T75" fmla="*/ 2147483647 h 640"/>
              <a:gd name="T76" fmla="*/ 2147483647 w 652"/>
              <a:gd name="T77" fmla="*/ 2147483647 h 640"/>
              <a:gd name="T78" fmla="*/ 2147483647 w 652"/>
              <a:gd name="T79" fmla="*/ 2147483647 h 640"/>
              <a:gd name="T80" fmla="*/ 2147483647 w 652"/>
              <a:gd name="T81" fmla="*/ 2147483647 h 640"/>
              <a:gd name="T82" fmla="*/ 2147483647 w 652"/>
              <a:gd name="T83" fmla="*/ 2147483647 h 640"/>
              <a:gd name="T84" fmla="*/ 2147483647 w 652"/>
              <a:gd name="T85" fmla="*/ 2147483647 h 640"/>
              <a:gd name="T86" fmla="*/ 2147483647 w 652"/>
              <a:gd name="T87" fmla="*/ 2147483647 h 640"/>
              <a:gd name="T88" fmla="*/ 2147483647 w 652"/>
              <a:gd name="T89" fmla="*/ 2147483647 h 640"/>
              <a:gd name="T90" fmla="*/ 2147483647 w 652"/>
              <a:gd name="T91" fmla="*/ 2147483647 h 640"/>
              <a:gd name="T92" fmla="*/ 2147483647 w 652"/>
              <a:gd name="T93" fmla="*/ 2147483647 h 640"/>
              <a:gd name="T94" fmla="*/ 2147483647 w 652"/>
              <a:gd name="T95" fmla="*/ 2147483647 h 640"/>
              <a:gd name="T96" fmla="*/ 2147483647 w 652"/>
              <a:gd name="T97" fmla="*/ 2147483647 h 640"/>
              <a:gd name="T98" fmla="*/ 2147483647 w 652"/>
              <a:gd name="T99" fmla="*/ 2147483647 h 640"/>
              <a:gd name="T100" fmla="*/ 2147483647 w 652"/>
              <a:gd name="T101" fmla="*/ 2147483647 h 640"/>
              <a:gd name="T102" fmla="*/ 2147483647 w 652"/>
              <a:gd name="T103" fmla="*/ 2147483647 h 640"/>
              <a:gd name="T104" fmla="*/ 2147483647 w 652"/>
              <a:gd name="T105" fmla="*/ 214748364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652"/>
              <a:gd name="T160" fmla="*/ 0 h 640"/>
              <a:gd name="T161" fmla="*/ 652 w 652"/>
              <a:gd name="T162" fmla="*/ 640 h 64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652" h="640">
                <a:moveTo>
                  <a:pt x="508" y="442"/>
                </a:moveTo>
                <a:lnTo>
                  <a:pt x="523" y="444"/>
                </a:lnTo>
                <a:lnTo>
                  <a:pt x="535" y="439"/>
                </a:lnTo>
                <a:lnTo>
                  <a:pt x="541" y="428"/>
                </a:lnTo>
                <a:lnTo>
                  <a:pt x="548" y="414"/>
                </a:lnTo>
                <a:lnTo>
                  <a:pt x="557" y="397"/>
                </a:lnTo>
                <a:lnTo>
                  <a:pt x="566" y="366"/>
                </a:lnTo>
                <a:lnTo>
                  <a:pt x="585" y="334"/>
                </a:lnTo>
                <a:lnTo>
                  <a:pt x="601" y="313"/>
                </a:lnTo>
                <a:lnTo>
                  <a:pt x="623" y="278"/>
                </a:lnTo>
                <a:lnTo>
                  <a:pt x="634" y="261"/>
                </a:lnTo>
                <a:lnTo>
                  <a:pt x="647" y="247"/>
                </a:lnTo>
                <a:lnTo>
                  <a:pt x="652" y="239"/>
                </a:lnTo>
                <a:lnTo>
                  <a:pt x="647" y="221"/>
                </a:lnTo>
                <a:lnTo>
                  <a:pt x="644" y="198"/>
                </a:lnTo>
                <a:lnTo>
                  <a:pt x="644" y="173"/>
                </a:lnTo>
                <a:lnTo>
                  <a:pt x="643" y="143"/>
                </a:lnTo>
                <a:lnTo>
                  <a:pt x="623" y="124"/>
                </a:lnTo>
                <a:lnTo>
                  <a:pt x="591" y="94"/>
                </a:lnTo>
                <a:lnTo>
                  <a:pt x="557" y="57"/>
                </a:lnTo>
                <a:lnTo>
                  <a:pt x="508" y="33"/>
                </a:lnTo>
                <a:lnTo>
                  <a:pt x="488" y="23"/>
                </a:lnTo>
                <a:lnTo>
                  <a:pt x="461" y="18"/>
                </a:lnTo>
                <a:lnTo>
                  <a:pt x="380" y="0"/>
                </a:lnTo>
                <a:lnTo>
                  <a:pt x="285" y="1"/>
                </a:lnTo>
                <a:lnTo>
                  <a:pt x="221" y="13"/>
                </a:lnTo>
                <a:lnTo>
                  <a:pt x="174" y="31"/>
                </a:lnTo>
                <a:lnTo>
                  <a:pt x="139" y="57"/>
                </a:lnTo>
                <a:lnTo>
                  <a:pt x="125" y="75"/>
                </a:lnTo>
                <a:lnTo>
                  <a:pt x="121" y="88"/>
                </a:lnTo>
                <a:lnTo>
                  <a:pt x="88" y="104"/>
                </a:lnTo>
                <a:lnTo>
                  <a:pt x="63" y="134"/>
                </a:lnTo>
                <a:lnTo>
                  <a:pt x="25" y="226"/>
                </a:lnTo>
                <a:lnTo>
                  <a:pt x="0" y="274"/>
                </a:lnTo>
                <a:lnTo>
                  <a:pt x="0" y="329"/>
                </a:lnTo>
                <a:lnTo>
                  <a:pt x="2" y="363"/>
                </a:lnTo>
                <a:lnTo>
                  <a:pt x="8" y="400"/>
                </a:lnTo>
                <a:lnTo>
                  <a:pt x="5" y="432"/>
                </a:lnTo>
                <a:lnTo>
                  <a:pt x="21" y="463"/>
                </a:lnTo>
                <a:lnTo>
                  <a:pt x="40" y="521"/>
                </a:lnTo>
                <a:lnTo>
                  <a:pt x="83" y="563"/>
                </a:lnTo>
                <a:lnTo>
                  <a:pt x="181" y="640"/>
                </a:lnTo>
                <a:lnTo>
                  <a:pt x="241" y="626"/>
                </a:lnTo>
                <a:lnTo>
                  <a:pt x="275" y="615"/>
                </a:lnTo>
                <a:lnTo>
                  <a:pt x="317" y="605"/>
                </a:lnTo>
                <a:lnTo>
                  <a:pt x="325" y="599"/>
                </a:lnTo>
                <a:lnTo>
                  <a:pt x="353" y="578"/>
                </a:lnTo>
                <a:lnTo>
                  <a:pt x="370" y="569"/>
                </a:lnTo>
                <a:lnTo>
                  <a:pt x="403" y="530"/>
                </a:lnTo>
                <a:lnTo>
                  <a:pt x="397" y="484"/>
                </a:lnTo>
                <a:lnTo>
                  <a:pt x="408" y="445"/>
                </a:lnTo>
                <a:lnTo>
                  <a:pt x="423" y="423"/>
                </a:lnTo>
                <a:lnTo>
                  <a:pt x="475" y="406"/>
                </a:lnTo>
                <a:close/>
              </a:path>
            </a:pathLst>
          </a:custGeom>
          <a:solidFill>
            <a:srgbClr val="722900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97" name="Freeform 25"/>
          <p:cNvSpPr>
            <a:spLocks noChangeArrowheads="1"/>
          </p:cNvSpPr>
          <p:nvPr/>
        </p:nvSpPr>
        <p:spPr bwMode="auto">
          <a:xfrm>
            <a:off x="3647323" y="3615863"/>
            <a:ext cx="627182" cy="1350657"/>
          </a:xfrm>
          <a:custGeom>
            <a:avLst/>
            <a:gdLst>
              <a:gd name="T0" fmla="*/ 2147483647 w 290"/>
              <a:gd name="T1" fmla="*/ 2147483647 h 715"/>
              <a:gd name="T2" fmla="*/ 2147483647 w 290"/>
              <a:gd name="T3" fmla="*/ 2147483647 h 715"/>
              <a:gd name="T4" fmla="*/ 2147483647 w 290"/>
              <a:gd name="T5" fmla="*/ 2147483647 h 715"/>
              <a:gd name="T6" fmla="*/ 2147483647 w 290"/>
              <a:gd name="T7" fmla="*/ 2147483647 h 715"/>
              <a:gd name="T8" fmla="*/ 2147483647 w 290"/>
              <a:gd name="T9" fmla="*/ 2147483647 h 715"/>
              <a:gd name="T10" fmla="*/ 2147483647 w 290"/>
              <a:gd name="T11" fmla="*/ 2147483647 h 715"/>
              <a:gd name="T12" fmla="*/ 2147483647 w 290"/>
              <a:gd name="T13" fmla="*/ 2147483647 h 715"/>
              <a:gd name="T14" fmla="*/ 2147483647 w 290"/>
              <a:gd name="T15" fmla="*/ 2147483647 h 715"/>
              <a:gd name="T16" fmla="*/ 2147483647 w 290"/>
              <a:gd name="T17" fmla="*/ 2147483647 h 715"/>
              <a:gd name="T18" fmla="*/ 0 w 290"/>
              <a:gd name="T19" fmla="*/ 2147483647 h 715"/>
              <a:gd name="T20" fmla="*/ 2147483647 w 290"/>
              <a:gd name="T21" fmla="*/ 2147483647 h 715"/>
              <a:gd name="T22" fmla="*/ 2147483647 w 290"/>
              <a:gd name="T23" fmla="*/ 2147483647 h 715"/>
              <a:gd name="T24" fmla="*/ 2147483647 w 290"/>
              <a:gd name="T25" fmla="*/ 2147483647 h 715"/>
              <a:gd name="T26" fmla="*/ 2147483647 w 290"/>
              <a:gd name="T27" fmla="*/ 2147483647 h 715"/>
              <a:gd name="T28" fmla="*/ 2147483647 w 290"/>
              <a:gd name="T29" fmla="*/ 2147483647 h 715"/>
              <a:gd name="T30" fmla="*/ 2147483647 w 290"/>
              <a:gd name="T31" fmla="*/ 2147483647 h 715"/>
              <a:gd name="T32" fmla="*/ 2147483647 w 290"/>
              <a:gd name="T33" fmla="*/ 2147483647 h 715"/>
              <a:gd name="T34" fmla="*/ 2147483647 w 290"/>
              <a:gd name="T35" fmla="*/ 2147483647 h 715"/>
              <a:gd name="T36" fmla="*/ 2147483647 w 290"/>
              <a:gd name="T37" fmla="*/ 2147483647 h 715"/>
              <a:gd name="T38" fmla="*/ 2147483647 w 290"/>
              <a:gd name="T39" fmla="*/ 2147483647 h 715"/>
              <a:gd name="T40" fmla="*/ 2147483647 w 290"/>
              <a:gd name="T41" fmla="*/ 2147483647 h 715"/>
              <a:gd name="T42" fmla="*/ 2147483647 w 290"/>
              <a:gd name="T43" fmla="*/ 2147483647 h 715"/>
              <a:gd name="T44" fmla="*/ 2147483647 w 290"/>
              <a:gd name="T45" fmla="*/ 0 h 71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290"/>
              <a:gd name="T70" fmla="*/ 0 h 715"/>
              <a:gd name="T71" fmla="*/ 290 w 290"/>
              <a:gd name="T72" fmla="*/ 715 h 715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290" h="715">
                <a:moveTo>
                  <a:pt x="142" y="71"/>
                </a:moveTo>
                <a:lnTo>
                  <a:pt x="131" y="210"/>
                </a:lnTo>
                <a:lnTo>
                  <a:pt x="99" y="314"/>
                </a:lnTo>
                <a:lnTo>
                  <a:pt x="85" y="362"/>
                </a:lnTo>
                <a:lnTo>
                  <a:pt x="85" y="397"/>
                </a:lnTo>
                <a:lnTo>
                  <a:pt x="36" y="443"/>
                </a:lnTo>
                <a:lnTo>
                  <a:pt x="33" y="535"/>
                </a:lnTo>
                <a:lnTo>
                  <a:pt x="28" y="580"/>
                </a:lnTo>
                <a:lnTo>
                  <a:pt x="20" y="621"/>
                </a:lnTo>
                <a:lnTo>
                  <a:pt x="0" y="659"/>
                </a:lnTo>
                <a:lnTo>
                  <a:pt x="112" y="694"/>
                </a:lnTo>
                <a:lnTo>
                  <a:pt x="187" y="715"/>
                </a:lnTo>
                <a:lnTo>
                  <a:pt x="245" y="648"/>
                </a:lnTo>
                <a:lnTo>
                  <a:pt x="273" y="559"/>
                </a:lnTo>
                <a:lnTo>
                  <a:pt x="290" y="449"/>
                </a:lnTo>
                <a:lnTo>
                  <a:pt x="290" y="362"/>
                </a:lnTo>
                <a:lnTo>
                  <a:pt x="290" y="287"/>
                </a:lnTo>
                <a:lnTo>
                  <a:pt x="290" y="221"/>
                </a:lnTo>
                <a:lnTo>
                  <a:pt x="290" y="154"/>
                </a:lnTo>
                <a:lnTo>
                  <a:pt x="284" y="91"/>
                </a:lnTo>
                <a:lnTo>
                  <a:pt x="280" y="42"/>
                </a:lnTo>
                <a:lnTo>
                  <a:pt x="270" y="7"/>
                </a:lnTo>
                <a:lnTo>
                  <a:pt x="140" y="0"/>
                </a:lnTo>
                <a:close/>
              </a:path>
            </a:pathLst>
          </a:custGeom>
          <a:solidFill>
            <a:srgbClr val="FFC17D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98" name="Freeform 26"/>
          <p:cNvSpPr>
            <a:spLocks noChangeArrowheads="1"/>
          </p:cNvSpPr>
          <p:nvPr/>
        </p:nvSpPr>
        <p:spPr bwMode="auto">
          <a:xfrm>
            <a:off x="606569" y="3449630"/>
            <a:ext cx="3423551" cy="2684313"/>
          </a:xfrm>
          <a:custGeom>
            <a:avLst/>
            <a:gdLst>
              <a:gd name="T0" fmla="*/ 2147483647 w 1583"/>
              <a:gd name="T1" fmla="*/ 2147483647 h 1421"/>
              <a:gd name="T2" fmla="*/ 2147483647 w 1583"/>
              <a:gd name="T3" fmla="*/ 2147483647 h 1421"/>
              <a:gd name="T4" fmla="*/ 2147483647 w 1583"/>
              <a:gd name="T5" fmla="*/ 0 h 1421"/>
              <a:gd name="T6" fmla="*/ 2147483647 w 1583"/>
              <a:gd name="T7" fmla="*/ 0 h 1421"/>
              <a:gd name="T8" fmla="*/ 2147483647 w 1583"/>
              <a:gd name="T9" fmla="*/ 2147483647 h 1421"/>
              <a:gd name="T10" fmla="*/ 2147483647 w 1583"/>
              <a:gd name="T11" fmla="*/ 2147483647 h 1421"/>
              <a:gd name="T12" fmla="*/ 2147483647 w 1583"/>
              <a:gd name="T13" fmla="*/ 2147483647 h 1421"/>
              <a:gd name="T14" fmla="*/ 2147483647 w 1583"/>
              <a:gd name="T15" fmla="*/ 2147483647 h 1421"/>
              <a:gd name="T16" fmla="*/ 2147483647 w 1583"/>
              <a:gd name="T17" fmla="*/ 2147483647 h 1421"/>
              <a:gd name="T18" fmla="*/ 2147483647 w 1583"/>
              <a:gd name="T19" fmla="*/ 2147483647 h 1421"/>
              <a:gd name="T20" fmla="*/ 2147483647 w 1583"/>
              <a:gd name="T21" fmla="*/ 2147483647 h 1421"/>
              <a:gd name="T22" fmla="*/ 2147483647 w 1583"/>
              <a:gd name="T23" fmla="*/ 2147483647 h 1421"/>
              <a:gd name="T24" fmla="*/ 2147483647 w 1583"/>
              <a:gd name="T25" fmla="*/ 2147483647 h 1421"/>
              <a:gd name="T26" fmla="*/ 2147483647 w 1583"/>
              <a:gd name="T27" fmla="*/ 2147483647 h 1421"/>
              <a:gd name="T28" fmla="*/ 0 w 1583"/>
              <a:gd name="T29" fmla="*/ 2147483647 h 1421"/>
              <a:gd name="T30" fmla="*/ 0 w 1583"/>
              <a:gd name="T31" fmla="*/ 2147483647 h 1421"/>
              <a:gd name="T32" fmla="*/ 2147483647 w 1583"/>
              <a:gd name="T33" fmla="*/ 2147483647 h 1421"/>
              <a:gd name="T34" fmla="*/ 2147483647 w 1583"/>
              <a:gd name="T35" fmla="*/ 2147483647 h 1421"/>
              <a:gd name="T36" fmla="*/ 2147483647 w 1583"/>
              <a:gd name="T37" fmla="*/ 2147483647 h 1421"/>
              <a:gd name="T38" fmla="*/ 2147483647 w 1583"/>
              <a:gd name="T39" fmla="*/ 2147483647 h 1421"/>
              <a:gd name="T40" fmla="*/ 2147483647 w 1583"/>
              <a:gd name="T41" fmla="*/ 2147483647 h 1421"/>
              <a:gd name="T42" fmla="*/ 2147483647 w 1583"/>
              <a:gd name="T43" fmla="*/ 2147483647 h 1421"/>
              <a:gd name="T44" fmla="*/ 2147483647 w 1583"/>
              <a:gd name="T45" fmla="*/ 2147483647 h 1421"/>
              <a:gd name="T46" fmla="*/ 2147483647 w 1583"/>
              <a:gd name="T47" fmla="*/ 2147483647 h 1421"/>
              <a:gd name="T48" fmla="*/ 2147483647 w 1583"/>
              <a:gd name="T49" fmla="*/ 2147483647 h 1421"/>
              <a:gd name="T50" fmla="*/ 2147483647 w 1583"/>
              <a:gd name="T51" fmla="*/ 2147483647 h 1421"/>
              <a:gd name="T52" fmla="*/ 2147483647 w 1583"/>
              <a:gd name="T53" fmla="*/ 2147483647 h 1421"/>
              <a:gd name="T54" fmla="*/ 2147483647 w 1583"/>
              <a:gd name="T55" fmla="*/ 2147483647 h 1421"/>
              <a:gd name="T56" fmla="*/ 2147483647 w 1583"/>
              <a:gd name="T57" fmla="*/ 2147483647 h 1421"/>
              <a:gd name="T58" fmla="*/ 2147483647 w 1583"/>
              <a:gd name="T59" fmla="*/ 2147483647 h 1421"/>
              <a:gd name="T60" fmla="*/ 2147483647 w 1583"/>
              <a:gd name="T61" fmla="*/ 2147483647 h 1421"/>
              <a:gd name="T62" fmla="*/ 2147483647 w 1583"/>
              <a:gd name="T63" fmla="*/ 2147483647 h 1421"/>
              <a:gd name="T64" fmla="*/ 2147483647 w 1583"/>
              <a:gd name="T65" fmla="*/ 2147483647 h 1421"/>
              <a:gd name="T66" fmla="*/ 2147483647 w 1583"/>
              <a:gd name="T67" fmla="*/ 2147483647 h 1421"/>
              <a:gd name="T68" fmla="*/ 2147483647 w 1583"/>
              <a:gd name="T69" fmla="*/ 2147483647 h 1421"/>
              <a:gd name="T70" fmla="*/ 2147483647 w 1583"/>
              <a:gd name="T71" fmla="*/ 2147483647 h 1421"/>
              <a:gd name="T72" fmla="*/ 2147483647 w 1583"/>
              <a:gd name="T73" fmla="*/ 2147483647 h 1421"/>
              <a:gd name="T74" fmla="*/ 2147483647 w 1583"/>
              <a:gd name="T75" fmla="*/ 2147483647 h 1421"/>
              <a:gd name="T76" fmla="*/ 2147483647 w 1583"/>
              <a:gd name="T77" fmla="*/ 2147483647 h 1421"/>
              <a:gd name="T78" fmla="*/ 2147483647 w 1583"/>
              <a:gd name="T79" fmla="*/ 2147483647 h 1421"/>
              <a:gd name="T80" fmla="*/ 2147483647 w 1583"/>
              <a:gd name="T81" fmla="*/ 2147483647 h 1421"/>
              <a:gd name="T82" fmla="*/ 2147483647 w 1583"/>
              <a:gd name="T83" fmla="*/ 2147483647 h 1421"/>
              <a:gd name="T84" fmla="*/ 2147483647 w 1583"/>
              <a:gd name="T85" fmla="*/ 2147483647 h 1421"/>
              <a:gd name="T86" fmla="*/ 2147483647 w 1583"/>
              <a:gd name="T87" fmla="*/ 2147483647 h 1421"/>
              <a:gd name="T88" fmla="*/ 2147483647 w 1583"/>
              <a:gd name="T89" fmla="*/ 2147483647 h 142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583"/>
              <a:gd name="T136" fmla="*/ 0 h 1421"/>
              <a:gd name="T137" fmla="*/ 1583 w 1583"/>
              <a:gd name="T138" fmla="*/ 1421 h 142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583" h="1421">
                <a:moveTo>
                  <a:pt x="825" y="33"/>
                </a:moveTo>
                <a:lnTo>
                  <a:pt x="694" y="16"/>
                </a:lnTo>
                <a:lnTo>
                  <a:pt x="608" y="0"/>
                </a:lnTo>
                <a:lnTo>
                  <a:pt x="530" y="0"/>
                </a:lnTo>
                <a:lnTo>
                  <a:pt x="459" y="21"/>
                </a:lnTo>
                <a:lnTo>
                  <a:pt x="378" y="21"/>
                </a:lnTo>
                <a:lnTo>
                  <a:pt x="340" y="33"/>
                </a:lnTo>
                <a:lnTo>
                  <a:pt x="313" y="21"/>
                </a:lnTo>
                <a:lnTo>
                  <a:pt x="199" y="28"/>
                </a:lnTo>
                <a:lnTo>
                  <a:pt x="139" y="64"/>
                </a:lnTo>
                <a:lnTo>
                  <a:pt x="100" y="112"/>
                </a:lnTo>
                <a:lnTo>
                  <a:pt x="41" y="241"/>
                </a:lnTo>
                <a:lnTo>
                  <a:pt x="4" y="298"/>
                </a:lnTo>
                <a:lnTo>
                  <a:pt x="4" y="357"/>
                </a:lnTo>
                <a:lnTo>
                  <a:pt x="0" y="460"/>
                </a:lnTo>
                <a:lnTo>
                  <a:pt x="0" y="521"/>
                </a:lnTo>
                <a:lnTo>
                  <a:pt x="17" y="701"/>
                </a:lnTo>
                <a:lnTo>
                  <a:pt x="119" y="854"/>
                </a:lnTo>
                <a:lnTo>
                  <a:pt x="127" y="1057"/>
                </a:lnTo>
                <a:lnTo>
                  <a:pt x="134" y="1270"/>
                </a:lnTo>
                <a:lnTo>
                  <a:pt x="185" y="1387"/>
                </a:lnTo>
                <a:lnTo>
                  <a:pt x="303" y="1411"/>
                </a:lnTo>
                <a:lnTo>
                  <a:pt x="689" y="1416"/>
                </a:lnTo>
                <a:lnTo>
                  <a:pt x="831" y="1416"/>
                </a:lnTo>
                <a:lnTo>
                  <a:pt x="1048" y="1403"/>
                </a:lnTo>
                <a:lnTo>
                  <a:pt x="1130" y="1421"/>
                </a:lnTo>
                <a:lnTo>
                  <a:pt x="1207" y="1142"/>
                </a:lnTo>
                <a:lnTo>
                  <a:pt x="1218" y="949"/>
                </a:lnTo>
                <a:lnTo>
                  <a:pt x="1191" y="709"/>
                </a:lnTo>
                <a:lnTo>
                  <a:pt x="1142" y="642"/>
                </a:lnTo>
                <a:lnTo>
                  <a:pt x="1256" y="730"/>
                </a:lnTo>
                <a:lnTo>
                  <a:pt x="1338" y="833"/>
                </a:lnTo>
                <a:lnTo>
                  <a:pt x="1561" y="871"/>
                </a:lnTo>
                <a:lnTo>
                  <a:pt x="1475" y="774"/>
                </a:lnTo>
                <a:lnTo>
                  <a:pt x="1523" y="709"/>
                </a:lnTo>
                <a:lnTo>
                  <a:pt x="1567" y="593"/>
                </a:lnTo>
                <a:lnTo>
                  <a:pt x="1583" y="493"/>
                </a:lnTo>
                <a:lnTo>
                  <a:pt x="1501" y="455"/>
                </a:lnTo>
                <a:lnTo>
                  <a:pt x="1342" y="324"/>
                </a:lnTo>
                <a:lnTo>
                  <a:pt x="1229" y="201"/>
                </a:lnTo>
                <a:lnTo>
                  <a:pt x="1142" y="99"/>
                </a:lnTo>
                <a:lnTo>
                  <a:pt x="1071" y="61"/>
                </a:lnTo>
                <a:lnTo>
                  <a:pt x="1006" y="61"/>
                </a:lnTo>
                <a:lnTo>
                  <a:pt x="924" y="61"/>
                </a:lnTo>
                <a:lnTo>
                  <a:pt x="962" y="61"/>
                </a:lnTo>
                <a:close/>
              </a:path>
            </a:pathLst>
          </a:custGeom>
          <a:solidFill>
            <a:srgbClr val="EDEDA8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99" name="Freeform 27"/>
          <p:cNvSpPr>
            <a:spLocks noChangeArrowheads="1"/>
          </p:cNvSpPr>
          <p:nvPr/>
        </p:nvSpPr>
        <p:spPr bwMode="auto">
          <a:xfrm>
            <a:off x="2611391" y="3500633"/>
            <a:ext cx="1758273" cy="1605676"/>
          </a:xfrm>
          <a:custGeom>
            <a:avLst/>
            <a:gdLst>
              <a:gd name="T0" fmla="*/ 2147483647 w 813"/>
              <a:gd name="T1" fmla="*/ 2147483647 h 850"/>
              <a:gd name="T2" fmla="*/ 2147483647 w 813"/>
              <a:gd name="T3" fmla="*/ 0 h 850"/>
              <a:gd name="T4" fmla="*/ 0 w 813"/>
              <a:gd name="T5" fmla="*/ 2147483647 h 850"/>
              <a:gd name="T6" fmla="*/ 2147483647 w 813"/>
              <a:gd name="T7" fmla="*/ 2147483647 h 850"/>
              <a:gd name="T8" fmla="*/ 2147483647 w 813"/>
              <a:gd name="T9" fmla="*/ 2147483647 h 850"/>
              <a:gd name="T10" fmla="*/ 2147483647 w 813"/>
              <a:gd name="T11" fmla="*/ 2147483647 h 850"/>
              <a:gd name="T12" fmla="*/ 2147483647 w 813"/>
              <a:gd name="T13" fmla="*/ 2147483647 h 850"/>
              <a:gd name="T14" fmla="*/ 2147483647 w 813"/>
              <a:gd name="T15" fmla="*/ 2147483647 h 850"/>
              <a:gd name="T16" fmla="*/ 2147483647 w 813"/>
              <a:gd name="T17" fmla="*/ 2147483647 h 850"/>
              <a:gd name="T18" fmla="*/ 2147483647 w 813"/>
              <a:gd name="T19" fmla="*/ 2147483647 h 850"/>
              <a:gd name="T20" fmla="*/ 2147483647 w 813"/>
              <a:gd name="T21" fmla="*/ 2147483647 h 850"/>
              <a:gd name="T22" fmla="*/ 2147483647 w 813"/>
              <a:gd name="T23" fmla="*/ 2147483647 h 850"/>
              <a:gd name="T24" fmla="*/ 2147483647 w 813"/>
              <a:gd name="T25" fmla="*/ 2147483647 h 850"/>
              <a:gd name="T26" fmla="*/ 2147483647 w 813"/>
              <a:gd name="T27" fmla="*/ 2147483647 h 850"/>
              <a:gd name="T28" fmla="*/ 2147483647 w 813"/>
              <a:gd name="T29" fmla="*/ 2147483647 h 850"/>
              <a:gd name="T30" fmla="*/ 2147483647 w 813"/>
              <a:gd name="T31" fmla="*/ 2147483647 h 850"/>
              <a:gd name="T32" fmla="*/ 2147483647 w 813"/>
              <a:gd name="T33" fmla="*/ 2147483647 h 850"/>
              <a:gd name="T34" fmla="*/ 2147483647 w 813"/>
              <a:gd name="T35" fmla="*/ 2147483647 h 850"/>
              <a:gd name="T36" fmla="*/ 2147483647 w 813"/>
              <a:gd name="T37" fmla="*/ 2147483647 h 850"/>
              <a:gd name="T38" fmla="*/ 2147483647 w 813"/>
              <a:gd name="T39" fmla="*/ 2147483647 h 850"/>
              <a:gd name="T40" fmla="*/ 2147483647 w 813"/>
              <a:gd name="T41" fmla="*/ 2147483647 h 850"/>
              <a:gd name="T42" fmla="*/ 2147483647 w 813"/>
              <a:gd name="T43" fmla="*/ 2147483647 h 850"/>
              <a:gd name="T44" fmla="*/ 2147483647 w 813"/>
              <a:gd name="T45" fmla="*/ 2147483647 h 850"/>
              <a:gd name="T46" fmla="*/ 2147483647 w 813"/>
              <a:gd name="T47" fmla="*/ 2147483647 h 850"/>
              <a:gd name="T48" fmla="*/ 2147483647 w 813"/>
              <a:gd name="T49" fmla="*/ 2147483647 h 850"/>
              <a:gd name="T50" fmla="*/ 2147483647 w 813"/>
              <a:gd name="T51" fmla="*/ 2147483647 h 850"/>
              <a:gd name="T52" fmla="*/ 2147483647 w 813"/>
              <a:gd name="T53" fmla="*/ 2147483647 h 85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813"/>
              <a:gd name="T82" fmla="*/ 0 h 850"/>
              <a:gd name="T83" fmla="*/ 813 w 813"/>
              <a:gd name="T84" fmla="*/ 850 h 850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813" h="850">
                <a:moveTo>
                  <a:pt x="155" y="44"/>
                </a:moveTo>
                <a:lnTo>
                  <a:pt x="80" y="0"/>
                </a:lnTo>
                <a:lnTo>
                  <a:pt x="0" y="36"/>
                </a:lnTo>
                <a:lnTo>
                  <a:pt x="67" y="66"/>
                </a:lnTo>
                <a:lnTo>
                  <a:pt x="150" y="302"/>
                </a:lnTo>
                <a:lnTo>
                  <a:pt x="188" y="345"/>
                </a:lnTo>
                <a:lnTo>
                  <a:pt x="242" y="357"/>
                </a:lnTo>
                <a:lnTo>
                  <a:pt x="307" y="433"/>
                </a:lnTo>
                <a:lnTo>
                  <a:pt x="302" y="471"/>
                </a:lnTo>
                <a:lnTo>
                  <a:pt x="317" y="538"/>
                </a:lnTo>
                <a:lnTo>
                  <a:pt x="367" y="599"/>
                </a:lnTo>
                <a:lnTo>
                  <a:pt x="406" y="631"/>
                </a:lnTo>
                <a:lnTo>
                  <a:pt x="406" y="588"/>
                </a:lnTo>
                <a:lnTo>
                  <a:pt x="464" y="605"/>
                </a:lnTo>
                <a:lnTo>
                  <a:pt x="610" y="834"/>
                </a:lnTo>
                <a:lnTo>
                  <a:pt x="540" y="834"/>
                </a:lnTo>
                <a:lnTo>
                  <a:pt x="679" y="850"/>
                </a:lnTo>
                <a:lnTo>
                  <a:pt x="749" y="815"/>
                </a:lnTo>
                <a:lnTo>
                  <a:pt x="813" y="633"/>
                </a:lnTo>
                <a:lnTo>
                  <a:pt x="764" y="77"/>
                </a:lnTo>
                <a:lnTo>
                  <a:pt x="580" y="90"/>
                </a:lnTo>
                <a:lnTo>
                  <a:pt x="568" y="450"/>
                </a:lnTo>
                <a:lnTo>
                  <a:pt x="464" y="345"/>
                </a:lnTo>
                <a:lnTo>
                  <a:pt x="352" y="225"/>
                </a:lnTo>
                <a:lnTo>
                  <a:pt x="286" y="154"/>
                </a:lnTo>
                <a:lnTo>
                  <a:pt x="215" y="94"/>
                </a:lnTo>
                <a:lnTo>
                  <a:pt x="188" y="55"/>
                </a:lnTo>
                <a:close/>
              </a:path>
            </a:pathLst>
          </a:custGeom>
          <a:solidFill>
            <a:srgbClr val="FFFFA4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0" name="Freeform 28"/>
          <p:cNvSpPr>
            <a:spLocks noChangeArrowheads="1"/>
          </p:cNvSpPr>
          <p:nvPr/>
        </p:nvSpPr>
        <p:spPr bwMode="auto">
          <a:xfrm>
            <a:off x="991528" y="3173830"/>
            <a:ext cx="1862084" cy="400475"/>
          </a:xfrm>
          <a:custGeom>
            <a:avLst/>
            <a:gdLst>
              <a:gd name="T0" fmla="*/ 2147483647 w 861"/>
              <a:gd name="T1" fmla="*/ 2147483647 h 212"/>
              <a:gd name="T2" fmla="*/ 2147483647 w 861"/>
              <a:gd name="T3" fmla="*/ 2147483647 h 212"/>
              <a:gd name="T4" fmla="*/ 0 w 861"/>
              <a:gd name="T5" fmla="*/ 2147483647 h 212"/>
              <a:gd name="T6" fmla="*/ 2147483647 w 861"/>
              <a:gd name="T7" fmla="*/ 2147483647 h 212"/>
              <a:gd name="T8" fmla="*/ 2147483647 w 861"/>
              <a:gd name="T9" fmla="*/ 2147483647 h 212"/>
              <a:gd name="T10" fmla="*/ 2147483647 w 861"/>
              <a:gd name="T11" fmla="*/ 2147483647 h 212"/>
              <a:gd name="T12" fmla="*/ 2147483647 w 861"/>
              <a:gd name="T13" fmla="*/ 2147483647 h 212"/>
              <a:gd name="T14" fmla="*/ 2147483647 w 861"/>
              <a:gd name="T15" fmla="*/ 2147483647 h 212"/>
              <a:gd name="T16" fmla="*/ 2147483647 w 861"/>
              <a:gd name="T17" fmla="*/ 2147483647 h 212"/>
              <a:gd name="T18" fmla="*/ 2147483647 w 861"/>
              <a:gd name="T19" fmla="*/ 2147483647 h 212"/>
              <a:gd name="T20" fmla="*/ 2147483647 w 861"/>
              <a:gd name="T21" fmla="*/ 2147483647 h 212"/>
              <a:gd name="T22" fmla="*/ 2147483647 w 861"/>
              <a:gd name="T23" fmla="*/ 2147483647 h 212"/>
              <a:gd name="T24" fmla="*/ 2147483647 w 861"/>
              <a:gd name="T25" fmla="*/ 2147483647 h 212"/>
              <a:gd name="T26" fmla="*/ 2147483647 w 861"/>
              <a:gd name="T27" fmla="*/ 2147483647 h 212"/>
              <a:gd name="T28" fmla="*/ 2147483647 w 861"/>
              <a:gd name="T29" fmla="*/ 2147483647 h 212"/>
              <a:gd name="T30" fmla="*/ 2147483647 w 861"/>
              <a:gd name="T31" fmla="*/ 2147483647 h 212"/>
              <a:gd name="T32" fmla="*/ 2147483647 w 861"/>
              <a:gd name="T33" fmla="*/ 0 h 212"/>
              <a:gd name="T34" fmla="*/ 2147483647 w 861"/>
              <a:gd name="T35" fmla="*/ 0 h 212"/>
              <a:gd name="T36" fmla="*/ 2147483647 w 861"/>
              <a:gd name="T37" fmla="*/ 2147483647 h 212"/>
              <a:gd name="T38" fmla="*/ 2147483647 w 861"/>
              <a:gd name="T39" fmla="*/ 2147483647 h 212"/>
              <a:gd name="T40" fmla="*/ 2147483647 w 861"/>
              <a:gd name="T41" fmla="*/ 2147483647 h 21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861"/>
              <a:gd name="T64" fmla="*/ 0 h 212"/>
              <a:gd name="T65" fmla="*/ 861 w 861"/>
              <a:gd name="T66" fmla="*/ 212 h 212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861" h="212">
                <a:moveTo>
                  <a:pt x="144" y="88"/>
                </a:moveTo>
                <a:lnTo>
                  <a:pt x="45" y="148"/>
                </a:lnTo>
                <a:lnTo>
                  <a:pt x="0" y="192"/>
                </a:lnTo>
                <a:lnTo>
                  <a:pt x="295" y="160"/>
                </a:lnTo>
                <a:lnTo>
                  <a:pt x="455" y="157"/>
                </a:lnTo>
                <a:lnTo>
                  <a:pt x="570" y="174"/>
                </a:lnTo>
                <a:lnTo>
                  <a:pt x="775" y="199"/>
                </a:lnTo>
                <a:lnTo>
                  <a:pt x="802" y="212"/>
                </a:lnTo>
                <a:lnTo>
                  <a:pt x="861" y="190"/>
                </a:lnTo>
                <a:lnTo>
                  <a:pt x="824" y="166"/>
                </a:lnTo>
                <a:lnTo>
                  <a:pt x="753" y="137"/>
                </a:lnTo>
                <a:lnTo>
                  <a:pt x="673" y="104"/>
                </a:lnTo>
                <a:lnTo>
                  <a:pt x="602" y="69"/>
                </a:lnTo>
                <a:lnTo>
                  <a:pt x="586" y="51"/>
                </a:lnTo>
                <a:lnTo>
                  <a:pt x="583" y="44"/>
                </a:lnTo>
                <a:lnTo>
                  <a:pt x="545" y="9"/>
                </a:lnTo>
                <a:lnTo>
                  <a:pt x="445" y="0"/>
                </a:lnTo>
                <a:lnTo>
                  <a:pt x="346" y="0"/>
                </a:lnTo>
                <a:lnTo>
                  <a:pt x="251" y="21"/>
                </a:lnTo>
                <a:lnTo>
                  <a:pt x="200" y="34"/>
                </a:lnTo>
                <a:lnTo>
                  <a:pt x="195" y="44"/>
                </a:lnTo>
                <a:close/>
              </a:path>
            </a:pathLst>
          </a:custGeom>
          <a:solidFill>
            <a:srgbClr val="FFFFA4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1" name="Freeform 29"/>
          <p:cNvSpPr>
            <a:spLocks noChangeArrowheads="1"/>
          </p:cNvSpPr>
          <p:nvPr/>
        </p:nvSpPr>
        <p:spPr bwMode="auto">
          <a:xfrm>
            <a:off x="1413255" y="3005706"/>
            <a:ext cx="865079" cy="264464"/>
          </a:xfrm>
          <a:custGeom>
            <a:avLst/>
            <a:gdLst>
              <a:gd name="T0" fmla="*/ 2147483647 w 400"/>
              <a:gd name="T1" fmla="*/ 2147483647 h 140"/>
              <a:gd name="T2" fmla="*/ 2147483647 w 400"/>
              <a:gd name="T3" fmla="*/ 2147483647 h 140"/>
              <a:gd name="T4" fmla="*/ 2147483647 w 400"/>
              <a:gd name="T5" fmla="*/ 2147483647 h 140"/>
              <a:gd name="T6" fmla="*/ 2147483647 w 400"/>
              <a:gd name="T7" fmla="*/ 2147483647 h 140"/>
              <a:gd name="T8" fmla="*/ 2147483647 w 400"/>
              <a:gd name="T9" fmla="*/ 2147483647 h 140"/>
              <a:gd name="T10" fmla="*/ 2147483647 w 400"/>
              <a:gd name="T11" fmla="*/ 2147483647 h 140"/>
              <a:gd name="T12" fmla="*/ 2147483647 w 400"/>
              <a:gd name="T13" fmla="*/ 2147483647 h 140"/>
              <a:gd name="T14" fmla="*/ 2147483647 w 400"/>
              <a:gd name="T15" fmla="*/ 2147483647 h 140"/>
              <a:gd name="T16" fmla="*/ 2147483647 w 400"/>
              <a:gd name="T17" fmla="*/ 2147483647 h 140"/>
              <a:gd name="T18" fmla="*/ 2147483647 w 400"/>
              <a:gd name="T19" fmla="*/ 2147483647 h 140"/>
              <a:gd name="T20" fmla="*/ 2147483647 w 400"/>
              <a:gd name="T21" fmla="*/ 2147483647 h 140"/>
              <a:gd name="T22" fmla="*/ 2147483647 w 400"/>
              <a:gd name="T23" fmla="*/ 0 h 140"/>
              <a:gd name="T24" fmla="*/ 2147483647 w 400"/>
              <a:gd name="T25" fmla="*/ 2147483647 h 140"/>
              <a:gd name="T26" fmla="*/ 2147483647 w 400"/>
              <a:gd name="T27" fmla="*/ 2147483647 h 140"/>
              <a:gd name="T28" fmla="*/ 2147483647 w 400"/>
              <a:gd name="T29" fmla="*/ 2147483647 h 140"/>
              <a:gd name="T30" fmla="*/ 2147483647 w 400"/>
              <a:gd name="T31" fmla="*/ 2147483647 h 140"/>
              <a:gd name="T32" fmla="*/ 2147483647 w 400"/>
              <a:gd name="T33" fmla="*/ 2147483647 h 140"/>
              <a:gd name="T34" fmla="*/ 0 w 400"/>
              <a:gd name="T35" fmla="*/ 2147483647 h 140"/>
              <a:gd name="T36" fmla="*/ 0 w 400"/>
              <a:gd name="T37" fmla="*/ 2147483647 h 140"/>
              <a:gd name="T38" fmla="*/ 0 w 400"/>
              <a:gd name="T39" fmla="*/ 2147483647 h 140"/>
              <a:gd name="T40" fmla="*/ 0 w 400"/>
              <a:gd name="T41" fmla="*/ 2147483647 h 140"/>
              <a:gd name="T42" fmla="*/ 2147483647 w 400"/>
              <a:gd name="T43" fmla="*/ 2147483647 h 140"/>
              <a:gd name="T44" fmla="*/ 2147483647 w 400"/>
              <a:gd name="T45" fmla="*/ 2147483647 h 140"/>
              <a:gd name="T46" fmla="*/ 2147483647 w 400"/>
              <a:gd name="T47" fmla="*/ 2147483647 h 140"/>
              <a:gd name="T48" fmla="*/ 2147483647 w 400"/>
              <a:gd name="T49" fmla="*/ 2147483647 h 140"/>
              <a:gd name="T50" fmla="*/ 2147483647 w 400"/>
              <a:gd name="T51" fmla="*/ 2147483647 h 140"/>
              <a:gd name="T52" fmla="*/ 2147483647 w 400"/>
              <a:gd name="T53" fmla="*/ 2147483647 h 140"/>
              <a:gd name="T54" fmla="*/ 2147483647 w 400"/>
              <a:gd name="T55" fmla="*/ 2147483647 h 140"/>
              <a:gd name="T56" fmla="*/ 2147483647 w 400"/>
              <a:gd name="T57" fmla="*/ 2147483647 h 140"/>
              <a:gd name="T58" fmla="*/ 2147483647 w 400"/>
              <a:gd name="T59" fmla="*/ 2147483647 h 140"/>
              <a:gd name="T60" fmla="*/ 2147483647 w 400"/>
              <a:gd name="T61" fmla="*/ 2147483647 h 140"/>
              <a:gd name="T62" fmla="*/ 2147483647 w 400"/>
              <a:gd name="T63" fmla="*/ 2147483647 h 140"/>
              <a:gd name="T64" fmla="*/ 2147483647 w 400"/>
              <a:gd name="T65" fmla="*/ 2147483647 h 140"/>
              <a:gd name="T66" fmla="*/ 2147483647 w 400"/>
              <a:gd name="T67" fmla="*/ 2147483647 h 140"/>
              <a:gd name="T68" fmla="*/ 2147483647 w 400"/>
              <a:gd name="T69" fmla="*/ 2147483647 h 140"/>
              <a:gd name="T70" fmla="*/ 2147483647 w 400"/>
              <a:gd name="T71" fmla="*/ 2147483647 h 140"/>
              <a:gd name="T72" fmla="*/ 2147483647 w 400"/>
              <a:gd name="T73" fmla="*/ 2147483647 h 140"/>
              <a:gd name="T74" fmla="*/ 2147483647 w 400"/>
              <a:gd name="T75" fmla="*/ 2147483647 h 14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00"/>
              <a:gd name="T115" fmla="*/ 0 h 140"/>
              <a:gd name="T116" fmla="*/ 400 w 400"/>
              <a:gd name="T117" fmla="*/ 140 h 14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00" h="140">
                <a:moveTo>
                  <a:pt x="387" y="92"/>
                </a:moveTo>
                <a:lnTo>
                  <a:pt x="368" y="81"/>
                </a:lnTo>
                <a:lnTo>
                  <a:pt x="345" y="64"/>
                </a:lnTo>
                <a:lnTo>
                  <a:pt x="310" y="43"/>
                </a:lnTo>
                <a:lnTo>
                  <a:pt x="285" y="28"/>
                </a:lnTo>
                <a:lnTo>
                  <a:pt x="262" y="21"/>
                </a:lnTo>
                <a:lnTo>
                  <a:pt x="248" y="14"/>
                </a:lnTo>
                <a:lnTo>
                  <a:pt x="219" y="10"/>
                </a:lnTo>
                <a:lnTo>
                  <a:pt x="193" y="5"/>
                </a:lnTo>
                <a:lnTo>
                  <a:pt x="157" y="1"/>
                </a:lnTo>
                <a:lnTo>
                  <a:pt x="124" y="1"/>
                </a:lnTo>
                <a:lnTo>
                  <a:pt x="82" y="0"/>
                </a:lnTo>
                <a:lnTo>
                  <a:pt x="43" y="6"/>
                </a:lnTo>
                <a:lnTo>
                  <a:pt x="40" y="6"/>
                </a:lnTo>
                <a:lnTo>
                  <a:pt x="28" y="25"/>
                </a:lnTo>
                <a:lnTo>
                  <a:pt x="13" y="53"/>
                </a:lnTo>
                <a:lnTo>
                  <a:pt x="3" y="79"/>
                </a:lnTo>
                <a:lnTo>
                  <a:pt x="0" y="101"/>
                </a:lnTo>
                <a:lnTo>
                  <a:pt x="0" y="116"/>
                </a:lnTo>
                <a:lnTo>
                  <a:pt x="0" y="130"/>
                </a:lnTo>
                <a:lnTo>
                  <a:pt x="0" y="134"/>
                </a:lnTo>
                <a:lnTo>
                  <a:pt x="3" y="140"/>
                </a:lnTo>
                <a:lnTo>
                  <a:pt x="33" y="130"/>
                </a:lnTo>
                <a:lnTo>
                  <a:pt x="75" y="114"/>
                </a:lnTo>
                <a:lnTo>
                  <a:pt x="117" y="107"/>
                </a:lnTo>
                <a:lnTo>
                  <a:pt x="187" y="98"/>
                </a:lnTo>
                <a:lnTo>
                  <a:pt x="214" y="94"/>
                </a:lnTo>
                <a:lnTo>
                  <a:pt x="262" y="92"/>
                </a:lnTo>
                <a:lnTo>
                  <a:pt x="301" y="96"/>
                </a:lnTo>
                <a:lnTo>
                  <a:pt x="332" y="102"/>
                </a:lnTo>
                <a:lnTo>
                  <a:pt x="352" y="110"/>
                </a:lnTo>
                <a:lnTo>
                  <a:pt x="375" y="123"/>
                </a:lnTo>
                <a:lnTo>
                  <a:pt x="390" y="130"/>
                </a:lnTo>
                <a:lnTo>
                  <a:pt x="400" y="138"/>
                </a:lnTo>
                <a:lnTo>
                  <a:pt x="400" y="114"/>
                </a:lnTo>
                <a:lnTo>
                  <a:pt x="397" y="98"/>
                </a:lnTo>
                <a:lnTo>
                  <a:pt x="396" y="98"/>
                </a:lnTo>
                <a:close/>
              </a:path>
            </a:pathLst>
          </a:custGeom>
          <a:solidFill>
            <a:srgbClr val="EDEDA8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2" name="Freeform 30"/>
          <p:cNvSpPr>
            <a:spLocks noChangeArrowheads="1"/>
          </p:cNvSpPr>
          <p:nvPr/>
        </p:nvSpPr>
        <p:spPr bwMode="auto">
          <a:xfrm>
            <a:off x="1495439" y="2830026"/>
            <a:ext cx="789384" cy="360804"/>
          </a:xfrm>
          <a:custGeom>
            <a:avLst/>
            <a:gdLst>
              <a:gd name="T0" fmla="*/ 2147483647 w 365"/>
              <a:gd name="T1" fmla="*/ 2147483647 h 191"/>
              <a:gd name="T2" fmla="*/ 2147483647 w 365"/>
              <a:gd name="T3" fmla="*/ 2147483647 h 191"/>
              <a:gd name="T4" fmla="*/ 2147483647 w 365"/>
              <a:gd name="T5" fmla="*/ 2147483647 h 191"/>
              <a:gd name="T6" fmla="*/ 2147483647 w 365"/>
              <a:gd name="T7" fmla="*/ 2147483647 h 191"/>
              <a:gd name="T8" fmla="*/ 2147483647 w 365"/>
              <a:gd name="T9" fmla="*/ 2147483647 h 191"/>
              <a:gd name="T10" fmla="*/ 2147483647 w 365"/>
              <a:gd name="T11" fmla="*/ 2147483647 h 191"/>
              <a:gd name="T12" fmla="*/ 2147483647 w 365"/>
              <a:gd name="T13" fmla="*/ 2147483647 h 191"/>
              <a:gd name="T14" fmla="*/ 2147483647 w 365"/>
              <a:gd name="T15" fmla="*/ 2147483647 h 191"/>
              <a:gd name="T16" fmla="*/ 2147483647 w 365"/>
              <a:gd name="T17" fmla="*/ 2147483647 h 191"/>
              <a:gd name="T18" fmla="*/ 2147483647 w 365"/>
              <a:gd name="T19" fmla="*/ 2147483647 h 191"/>
              <a:gd name="T20" fmla="*/ 2147483647 w 365"/>
              <a:gd name="T21" fmla="*/ 2147483647 h 191"/>
              <a:gd name="T22" fmla="*/ 2147483647 w 365"/>
              <a:gd name="T23" fmla="*/ 2147483647 h 191"/>
              <a:gd name="T24" fmla="*/ 2147483647 w 365"/>
              <a:gd name="T25" fmla="*/ 0 h 191"/>
              <a:gd name="T26" fmla="*/ 2147483647 w 365"/>
              <a:gd name="T27" fmla="*/ 2147483647 h 191"/>
              <a:gd name="T28" fmla="*/ 2147483647 w 365"/>
              <a:gd name="T29" fmla="*/ 2147483647 h 191"/>
              <a:gd name="T30" fmla="*/ 2147483647 w 365"/>
              <a:gd name="T31" fmla="*/ 2147483647 h 191"/>
              <a:gd name="T32" fmla="*/ 2147483647 w 365"/>
              <a:gd name="T33" fmla="*/ 2147483647 h 191"/>
              <a:gd name="T34" fmla="*/ 2147483647 w 365"/>
              <a:gd name="T35" fmla="*/ 2147483647 h 191"/>
              <a:gd name="T36" fmla="*/ 2147483647 w 365"/>
              <a:gd name="T37" fmla="*/ 2147483647 h 191"/>
              <a:gd name="T38" fmla="*/ 2147483647 w 365"/>
              <a:gd name="T39" fmla="*/ 2147483647 h 191"/>
              <a:gd name="T40" fmla="*/ 2147483647 w 365"/>
              <a:gd name="T41" fmla="*/ 2147483647 h 191"/>
              <a:gd name="T42" fmla="*/ 2147483647 w 365"/>
              <a:gd name="T43" fmla="*/ 2147483647 h 191"/>
              <a:gd name="T44" fmla="*/ 2147483647 w 365"/>
              <a:gd name="T45" fmla="*/ 2147483647 h 191"/>
              <a:gd name="T46" fmla="*/ 2147483647 w 365"/>
              <a:gd name="T47" fmla="*/ 2147483647 h 191"/>
              <a:gd name="T48" fmla="*/ 2147483647 w 365"/>
              <a:gd name="T49" fmla="*/ 2147483647 h 191"/>
              <a:gd name="T50" fmla="*/ 2147483647 w 365"/>
              <a:gd name="T51" fmla="*/ 2147483647 h 191"/>
              <a:gd name="T52" fmla="*/ 2147483647 w 365"/>
              <a:gd name="T53" fmla="*/ 2147483647 h 191"/>
              <a:gd name="T54" fmla="*/ 2147483647 w 365"/>
              <a:gd name="T55" fmla="*/ 2147483647 h 191"/>
              <a:gd name="T56" fmla="*/ 2147483647 w 365"/>
              <a:gd name="T57" fmla="*/ 2147483647 h 191"/>
              <a:gd name="T58" fmla="*/ 2147483647 w 365"/>
              <a:gd name="T59" fmla="*/ 2147483647 h 191"/>
              <a:gd name="T60" fmla="*/ 0 w 365"/>
              <a:gd name="T61" fmla="*/ 2147483647 h 191"/>
              <a:gd name="T62" fmla="*/ 2147483647 w 365"/>
              <a:gd name="T63" fmla="*/ 2147483647 h 191"/>
              <a:gd name="T64" fmla="*/ 2147483647 w 365"/>
              <a:gd name="T65" fmla="*/ 2147483647 h 19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365"/>
              <a:gd name="T100" fmla="*/ 0 h 191"/>
              <a:gd name="T101" fmla="*/ 365 w 365"/>
              <a:gd name="T102" fmla="*/ 191 h 19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365" h="191">
                <a:moveTo>
                  <a:pt x="49" y="81"/>
                </a:moveTo>
                <a:lnTo>
                  <a:pt x="105" y="77"/>
                </a:lnTo>
                <a:lnTo>
                  <a:pt x="144" y="77"/>
                </a:lnTo>
                <a:lnTo>
                  <a:pt x="181" y="77"/>
                </a:lnTo>
                <a:lnTo>
                  <a:pt x="222" y="90"/>
                </a:lnTo>
                <a:lnTo>
                  <a:pt x="257" y="106"/>
                </a:lnTo>
                <a:lnTo>
                  <a:pt x="260" y="91"/>
                </a:lnTo>
                <a:lnTo>
                  <a:pt x="260" y="60"/>
                </a:lnTo>
                <a:lnTo>
                  <a:pt x="248" y="35"/>
                </a:lnTo>
                <a:lnTo>
                  <a:pt x="239" y="25"/>
                </a:lnTo>
                <a:lnTo>
                  <a:pt x="234" y="23"/>
                </a:lnTo>
                <a:lnTo>
                  <a:pt x="245" y="4"/>
                </a:lnTo>
                <a:lnTo>
                  <a:pt x="267" y="0"/>
                </a:lnTo>
                <a:lnTo>
                  <a:pt x="288" y="8"/>
                </a:lnTo>
                <a:lnTo>
                  <a:pt x="274" y="25"/>
                </a:lnTo>
                <a:lnTo>
                  <a:pt x="287" y="50"/>
                </a:lnTo>
                <a:lnTo>
                  <a:pt x="307" y="81"/>
                </a:lnTo>
                <a:lnTo>
                  <a:pt x="316" y="109"/>
                </a:lnTo>
                <a:lnTo>
                  <a:pt x="323" y="134"/>
                </a:lnTo>
                <a:lnTo>
                  <a:pt x="340" y="157"/>
                </a:lnTo>
                <a:lnTo>
                  <a:pt x="365" y="176"/>
                </a:lnTo>
                <a:lnTo>
                  <a:pt x="365" y="187"/>
                </a:lnTo>
                <a:lnTo>
                  <a:pt x="357" y="191"/>
                </a:lnTo>
                <a:lnTo>
                  <a:pt x="329" y="172"/>
                </a:lnTo>
                <a:lnTo>
                  <a:pt x="274" y="136"/>
                </a:lnTo>
                <a:lnTo>
                  <a:pt x="217" y="111"/>
                </a:lnTo>
                <a:lnTo>
                  <a:pt x="176" y="102"/>
                </a:lnTo>
                <a:lnTo>
                  <a:pt x="111" y="98"/>
                </a:lnTo>
                <a:lnTo>
                  <a:pt x="62" y="98"/>
                </a:lnTo>
                <a:lnTo>
                  <a:pt x="29" y="101"/>
                </a:lnTo>
                <a:lnTo>
                  <a:pt x="0" y="102"/>
                </a:lnTo>
                <a:lnTo>
                  <a:pt x="6" y="83"/>
                </a:lnTo>
                <a:lnTo>
                  <a:pt x="18" y="86"/>
                </a:lnTo>
                <a:close/>
              </a:path>
            </a:pathLst>
          </a:custGeom>
          <a:solidFill>
            <a:srgbClr val="FFB672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3" name="Freeform 31"/>
          <p:cNvSpPr>
            <a:spLocks noChangeArrowheads="1"/>
          </p:cNvSpPr>
          <p:nvPr/>
        </p:nvSpPr>
        <p:spPr bwMode="auto">
          <a:xfrm>
            <a:off x="2100994" y="3251280"/>
            <a:ext cx="826151" cy="309801"/>
          </a:xfrm>
          <a:custGeom>
            <a:avLst/>
            <a:gdLst>
              <a:gd name="T0" fmla="*/ 0 w 382"/>
              <a:gd name="T1" fmla="*/ 2147483647 h 164"/>
              <a:gd name="T2" fmla="*/ 2147483647 w 382"/>
              <a:gd name="T3" fmla="*/ 2147483647 h 164"/>
              <a:gd name="T4" fmla="*/ 2147483647 w 382"/>
              <a:gd name="T5" fmla="*/ 2147483647 h 164"/>
              <a:gd name="T6" fmla="*/ 2147483647 w 382"/>
              <a:gd name="T7" fmla="*/ 2147483647 h 164"/>
              <a:gd name="T8" fmla="*/ 2147483647 w 382"/>
              <a:gd name="T9" fmla="*/ 2147483647 h 164"/>
              <a:gd name="T10" fmla="*/ 2147483647 w 382"/>
              <a:gd name="T11" fmla="*/ 2147483647 h 164"/>
              <a:gd name="T12" fmla="*/ 2147483647 w 382"/>
              <a:gd name="T13" fmla="*/ 2147483647 h 164"/>
              <a:gd name="T14" fmla="*/ 2147483647 w 382"/>
              <a:gd name="T15" fmla="*/ 2147483647 h 164"/>
              <a:gd name="T16" fmla="*/ 2147483647 w 382"/>
              <a:gd name="T17" fmla="*/ 2147483647 h 164"/>
              <a:gd name="T18" fmla="*/ 2147483647 w 382"/>
              <a:gd name="T19" fmla="*/ 2147483647 h 164"/>
              <a:gd name="T20" fmla="*/ 2147483647 w 382"/>
              <a:gd name="T21" fmla="*/ 2147483647 h 164"/>
              <a:gd name="T22" fmla="*/ 2147483647 w 382"/>
              <a:gd name="T23" fmla="*/ 2147483647 h 164"/>
              <a:gd name="T24" fmla="*/ 2147483647 w 382"/>
              <a:gd name="T25" fmla="*/ 2147483647 h 164"/>
              <a:gd name="T26" fmla="*/ 2147483647 w 382"/>
              <a:gd name="T27" fmla="*/ 2147483647 h 164"/>
              <a:gd name="T28" fmla="*/ 2147483647 w 382"/>
              <a:gd name="T29" fmla="*/ 2147483647 h 164"/>
              <a:gd name="T30" fmla="*/ 2147483647 w 382"/>
              <a:gd name="T31" fmla="*/ 2147483647 h 164"/>
              <a:gd name="T32" fmla="*/ 2147483647 w 382"/>
              <a:gd name="T33" fmla="*/ 2147483647 h 164"/>
              <a:gd name="T34" fmla="*/ 2147483647 w 382"/>
              <a:gd name="T35" fmla="*/ 2147483647 h 164"/>
              <a:gd name="T36" fmla="*/ 2147483647 w 382"/>
              <a:gd name="T37" fmla="*/ 2147483647 h 164"/>
              <a:gd name="T38" fmla="*/ 2147483647 w 382"/>
              <a:gd name="T39" fmla="*/ 0 h 164"/>
              <a:gd name="T40" fmla="*/ 2147483647 w 382"/>
              <a:gd name="T41" fmla="*/ 0 h 16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382"/>
              <a:gd name="T64" fmla="*/ 0 h 164"/>
              <a:gd name="T65" fmla="*/ 382 w 382"/>
              <a:gd name="T66" fmla="*/ 164 h 164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382" h="164">
                <a:moveTo>
                  <a:pt x="0" y="13"/>
                </a:moveTo>
                <a:lnTo>
                  <a:pt x="80" y="17"/>
                </a:lnTo>
                <a:lnTo>
                  <a:pt x="78" y="41"/>
                </a:lnTo>
                <a:lnTo>
                  <a:pt x="60" y="88"/>
                </a:lnTo>
                <a:lnTo>
                  <a:pt x="80" y="69"/>
                </a:lnTo>
                <a:lnTo>
                  <a:pt x="115" y="50"/>
                </a:lnTo>
                <a:lnTo>
                  <a:pt x="145" y="69"/>
                </a:lnTo>
                <a:lnTo>
                  <a:pt x="162" y="98"/>
                </a:lnTo>
                <a:lnTo>
                  <a:pt x="147" y="136"/>
                </a:lnTo>
                <a:lnTo>
                  <a:pt x="228" y="104"/>
                </a:lnTo>
                <a:lnTo>
                  <a:pt x="271" y="117"/>
                </a:lnTo>
                <a:lnTo>
                  <a:pt x="282" y="145"/>
                </a:lnTo>
                <a:lnTo>
                  <a:pt x="382" y="164"/>
                </a:lnTo>
                <a:lnTo>
                  <a:pt x="339" y="138"/>
                </a:lnTo>
                <a:lnTo>
                  <a:pt x="257" y="104"/>
                </a:lnTo>
                <a:lnTo>
                  <a:pt x="208" y="81"/>
                </a:lnTo>
                <a:lnTo>
                  <a:pt x="167" y="60"/>
                </a:lnTo>
                <a:lnTo>
                  <a:pt x="127" y="39"/>
                </a:lnTo>
                <a:lnTo>
                  <a:pt x="105" y="28"/>
                </a:lnTo>
                <a:lnTo>
                  <a:pt x="86" y="0"/>
                </a:lnTo>
                <a:lnTo>
                  <a:pt x="76" y="0"/>
                </a:lnTo>
                <a:close/>
              </a:path>
            </a:pathLst>
          </a:custGeom>
          <a:solidFill>
            <a:srgbClr val="EDEDA8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4" name="Freeform 32"/>
          <p:cNvSpPr>
            <a:spLocks noChangeArrowheads="1"/>
          </p:cNvSpPr>
          <p:nvPr/>
        </p:nvSpPr>
        <p:spPr bwMode="auto">
          <a:xfrm>
            <a:off x="2667621" y="3935110"/>
            <a:ext cx="521209" cy="1190090"/>
          </a:xfrm>
          <a:custGeom>
            <a:avLst/>
            <a:gdLst>
              <a:gd name="T0" fmla="*/ 2147483647 w 241"/>
              <a:gd name="T1" fmla="*/ 2147483647 h 630"/>
              <a:gd name="T2" fmla="*/ 2147483647 w 241"/>
              <a:gd name="T3" fmla="*/ 2147483647 h 630"/>
              <a:gd name="T4" fmla="*/ 2147483647 w 241"/>
              <a:gd name="T5" fmla="*/ 2147483647 h 630"/>
              <a:gd name="T6" fmla="*/ 2147483647 w 241"/>
              <a:gd name="T7" fmla="*/ 2147483647 h 630"/>
              <a:gd name="T8" fmla="*/ 2147483647 w 241"/>
              <a:gd name="T9" fmla="*/ 2147483647 h 630"/>
              <a:gd name="T10" fmla="*/ 2147483647 w 241"/>
              <a:gd name="T11" fmla="*/ 2147483647 h 630"/>
              <a:gd name="T12" fmla="*/ 2147483647 w 241"/>
              <a:gd name="T13" fmla="*/ 2147483647 h 630"/>
              <a:gd name="T14" fmla="*/ 2147483647 w 241"/>
              <a:gd name="T15" fmla="*/ 2147483647 h 630"/>
              <a:gd name="T16" fmla="*/ 0 w 241"/>
              <a:gd name="T17" fmla="*/ 2147483647 h 630"/>
              <a:gd name="T18" fmla="*/ 2147483647 w 241"/>
              <a:gd name="T19" fmla="*/ 0 h 630"/>
              <a:gd name="T20" fmla="*/ 2147483647 w 241"/>
              <a:gd name="T21" fmla="*/ 2147483647 h 630"/>
              <a:gd name="T22" fmla="*/ 2147483647 w 241"/>
              <a:gd name="T23" fmla="*/ 2147483647 h 63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41"/>
              <a:gd name="T37" fmla="*/ 0 h 630"/>
              <a:gd name="T38" fmla="*/ 241 w 241"/>
              <a:gd name="T39" fmla="*/ 630 h 63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41" h="630">
                <a:moveTo>
                  <a:pt x="51" y="151"/>
                </a:moveTo>
                <a:lnTo>
                  <a:pt x="104" y="253"/>
                </a:lnTo>
                <a:lnTo>
                  <a:pt x="157" y="330"/>
                </a:lnTo>
                <a:lnTo>
                  <a:pt x="238" y="423"/>
                </a:lnTo>
                <a:lnTo>
                  <a:pt x="241" y="503"/>
                </a:lnTo>
                <a:lnTo>
                  <a:pt x="139" y="436"/>
                </a:lnTo>
                <a:lnTo>
                  <a:pt x="19" y="630"/>
                </a:lnTo>
                <a:lnTo>
                  <a:pt x="68" y="379"/>
                </a:lnTo>
                <a:lnTo>
                  <a:pt x="0" y="89"/>
                </a:lnTo>
                <a:lnTo>
                  <a:pt x="11" y="0"/>
                </a:lnTo>
                <a:lnTo>
                  <a:pt x="11" y="8"/>
                </a:lnTo>
                <a:lnTo>
                  <a:pt x="19" y="16"/>
                </a:lnTo>
                <a:close/>
              </a:path>
            </a:pathLst>
          </a:custGeom>
          <a:solidFill>
            <a:srgbClr val="EDEDA8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5" name="Freeform 33"/>
          <p:cNvSpPr>
            <a:spLocks noChangeArrowheads="1"/>
          </p:cNvSpPr>
          <p:nvPr/>
        </p:nvSpPr>
        <p:spPr bwMode="auto">
          <a:xfrm>
            <a:off x="991530" y="6069715"/>
            <a:ext cx="2212441" cy="383474"/>
          </a:xfrm>
          <a:custGeom>
            <a:avLst/>
            <a:gdLst>
              <a:gd name="T0" fmla="*/ 2147483647 w 1023"/>
              <a:gd name="T1" fmla="*/ 2147483647 h 203"/>
              <a:gd name="T2" fmla="*/ 2147483647 w 1023"/>
              <a:gd name="T3" fmla="*/ 2147483647 h 203"/>
              <a:gd name="T4" fmla="*/ 2147483647 w 1023"/>
              <a:gd name="T5" fmla="*/ 0 h 203"/>
              <a:gd name="T6" fmla="*/ 0 w 1023"/>
              <a:gd name="T7" fmla="*/ 2147483647 h 203"/>
              <a:gd name="T8" fmla="*/ 2147483647 w 1023"/>
              <a:gd name="T9" fmla="*/ 2147483647 h 203"/>
              <a:gd name="T10" fmla="*/ 2147483647 w 1023"/>
              <a:gd name="T11" fmla="*/ 2147483647 h 203"/>
              <a:gd name="T12" fmla="*/ 2147483647 w 1023"/>
              <a:gd name="T13" fmla="*/ 2147483647 h 203"/>
              <a:gd name="T14" fmla="*/ 2147483647 w 1023"/>
              <a:gd name="T15" fmla="*/ 2147483647 h 20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023"/>
              <a:gd name="T25" fmla="*/ 0 h 203"/>
              <a:gd name="T26" fmla="*/ 1023 w 1023"/>
              <a:gd name="T27" fmla="*/ 203 h 20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023" h="203">
                <a:moveTo>
                  <a:pt x="507" y="29"/>
                </a:moveTo>
                <a:lnTo>
                  <a:pt x="233" y="20"/>
                </a:lnTo>
                <a:lnTo>
                  <a:pt x="7" y="0"/>
                </a:lnTo>
                <a:lnTo>
                  <a:pt x="0" y="95"/>
                </a:lnTo>
                <a:lnTo>
                  <a:pt x="7" y="203"/>
                </a:lnTo>
                <a:lnTo>
                  <a:pt x="1023" y="203"/>
                </a:lnTo>
                <a:lnTo>
                  <a:pt x="925" y="21"/>
                </a:lnTo>
                <a:lnTo>
                  <a:pt x="668" y="29"/>
                </a:lnTo>
                <a:close/>
              </a:path>
            </a:pathLst>
          </a:custGeom>
          <a:solidFill>
            <a:srgbClr val="002C7C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6" name="Freeform 34"/>
          <p:cNvSpPr>
            <a:spLocks noChangeArrowheads="1"/>
          </p:cNvSpPr>
          <p:nvPr/>
        </p:nvSpPr>
        <p:spPr bwMode="auto">
          <a:xfrm>
            <a:off x="2029625" y="2486224"/>
            <a:ext cx="211944" cy="313579"/>
          </a:xfrm>
          <a:custGeom>
            <a:avLst/>
            <a:gdLst>
              <a:gd name="T0" fmla="*/ 2147483647 w 98"/>
              <a:gd name="T1" fmla="*/ 2147483647 h 166"/>
              <a:gd name="T2" fmla="*/ 2147483647 w 98"/>
              <a:gd name="T3" fmla="*/ 2147483647 h 166"/>
              <a:gd name="T4" fmla="*/ 2147483647 w 98"/>
              <a:gd name="T5" fmla="*/ 2147483647 h 166"/>
              <a:gd name="T6" fmla="*/ 2147483647 w 98"/>
              <a:gd name="T7" fmla="*/ 2147483647 h 166"/>
              <a:gd name="T8" fmla="*/ 2147483647 w 98"/>
              <a:gd name="T9" fmla="*/ 2147483647 h 166"/>
              <a:gd name="T10" fmla="*/ 2147483647 w 98"/>
              <a:gd name="T11" fmla="*/ 2147483647 h 166"/>
              <a:gd name="T12" fmla="*/ 2147483647 w 98"/>
              <a:gd name="T13" fmla="*/ 2147483647 h 166"/>
              <a:gd name="T14" fmla="*/ 2147483647 w 98"/>
              <a:gd name="T15" fmla="*/ 2147483647 h 166"/>
              <a:gd name="T16" fmla="*/ 2147483647 w 98"/>
              <a:gd name="T17" fmla="*/ 2147483647 h 166"/>
              <a:gd name="T18" fmla="*/ 2147483647 w 98"/>
              <a:gd name="T19" fmla="*/ 0 h 166"/>
              <a:gd name="T20" fmla="*/ 2147483647 w 98"/>
              <a:gd name="T21" fmla="*/ 2147483647 h 166"/>
              <a:gd name="T22" fmla="*/ 2147483647 w 98"/>
              <a:gd name="T23" fmla="*/ 2147483647 h 166"/>
              <a:gd name="T24" fmla="*/ 0 w 98"/>
              <a:gd name="T25" fmla="*/ 2147483647 h 166"/>
              <a:gd name="T26" fmla="*/ 0 w 98"/>
              <a:gd name="T27" fmla="*/ 2147483647 h 166"/>
              <a:gd name="T28" fmla="*/ 2147483647 w 98"/>
              <a:gd name="T29" fmla="*/ 2147483647 h 166"/>
              <a:gd name="T30" fmla="*/ 2147483647 w 98"/>
              <a:gd name="T31" fmla="*/ 2147483647 h 166"/>
              <a:gd name="T32" fmla="*/ 2147483647 w 98"/>
              <a:gd name="T33" fmla="*/ 2147483647 h 166"/>
              <a:gd name="T34" fmla="*/ 2147483647 w 98"/>
              <a:gd name="T35" fmla="*/ 2147483647 h 166"/>
              <a:gd name="T36" fmla="*/ 2147483647 w 98"/>
              <a:gd name="T37" fmla="*/ 2147483647 h 166"/>
              <a:gd name="T38" fmla="*/ 2147483647 w 98"/>
              <a:gd name="T39" fmla="*/ 2147483647 h 166"/>
              <a:gd name="T40" fmla="*/ 2147483647 w 98"/>
              <a:gd name="T41" fmla="*/ 2147483647 h 166"/>
              <a:gd name="T42" fmla="*/ 2147483647 w 98"/>
              <a:gd name="T43" fmla="*/ 2147483647 h 166"/>
              <a:gd name="T44" fmla="*/ 2147483647 w 98"/>
              <a:gd name="T45" fmla="*/ 2147483647 h 166"/>
              <a:gd name="T46" fmla="*/ 2147483647 w 98"/>
              <a:gd name="T47" fmla="*/ 2147483647 h 166"/>
              <a:gd name="T48" fmla="*/ 2147483647 w 98"/>
              <a:gd name="T49" fmla="*/ 2147483647 h 166"/>
              <a:gd name="T50" fmla="*/ 2147483647 w 98"/>
              <a:gd name="T51" fmla="*/ 2147483647 h 166"/>
              <a:gd name="T52" fmla="*/ 2147483647 w 98"/>
              <a:gd name="T53" fmla="*/ 2147483647 h 166"/>
              <a:gd name="T54" fmla="*/ 2147483647 w 98"/>
              <a:gd name="T55" fmla="*/ 2147483647 h 166"/>
              <a:gd name="T56" fmla="*/ 2147483647 w 98"/>
              <a:gd name="T57" fmla="*/ 2147483647 h 166"/>
              <a:gd name="T58" fmla="*/ 2147483647 w 98"/>
              <a:gd name="T59" fmla="*/ 2147483647 h 166"/>
              <a:gd name="T60" fmla="*/ 2147483647 w 98"/>
              <a:gd name="T61" fmla="*/ 2147483647 h 166"/>
              <a:gd name="T62" fmla="*/ 2147483647 w 98"/>
              <a:gd name="T63" fmla="*/ 2147483647 h 166"/>
              <a:gd name="T64" fmla="*/ 2147483647 w 98"/>
              <a:gd name="T65" fmla="*/ 2147483647 h 166"/>
              <a:gd name="T66" fmla="*/ 2147483647 w 98"/>
              <a:gd name="T67" fmla="*/ 2147483647 h 166"/>
              <a:gd name="T68" fmla="*/ 2147483647 w 98"/>
              <a:gd name="T69" fmla="*/ 2147483647 h 16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98"/>
              <a:gd name="T106" fmla="*/ 0 h 166"/>
              <a:gd name="T107" fmla="*/ 98 w 98"/>
              <a:gd name="T108" fmla="*/ 166 h 16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98" h="166">
                <a:moveTo>
                  <a:pt x="48" y="42"/>
                </a:moveTo>
                <a:lnTo>
                  <a:pt x="50" y="54"/>
                </a:lnTo>
                <a:lnTo>
                  <a:pt x="60" y="69"/>
                </a:lnTo>
                <a:lnTo>
                  <a:pt x="69" y="80"/>
                </a:lnTo>
                <a:lnTo>
                  <a:pt x="83" y="82"/>
                </a:lnTo>
                <a:lnTo>
                  <a:pt x="82" y="62"/>
                </a:lnTo>
                <a:lnTo>
                  <a:pt x="85" y="40"/>
                </a:lnTo>
                <a:lnTo>
                  <a:pt x="85" y="23"/>
                </a:lnTo>
                <a:lnTo>
                  <a:pt x="85" y="3"/>
                </a:lnTo>
                <a:lnTo>
                  <a:pt x="62" y="0"/>
                </a:lnTo>
                <a:lnTo>
                  <a:pt x="35" y="6"/>
                </a:lnTo>
                <a:lnTo>
                  <a:pt x="14" y="21"/>
                </a:lnTo>
                <a:lnTo>
                  <a:pt x="0" y="38"/>
                </a:lnTo>
                <a:lnTo>
                  <a:pt x="0" y="73"/>
                </a:lnTo>
                <a:lnTo>
                  <a:pt x="7" y="95"/>
                </a:lnTo>
                <a:lnTo>
                  <a:pt x="16" y="103"/>
                </a:lnTo>
                <a:lnTo>
                  <a:pt x="38" y="122"/>
                </a:lnTo>
                <a:lnTo>
                  <a:pt x="60" y="144"/>
                </a:lnTo>
                <a:lnTo>
                  <a:pt x="76" y="153"/>
                </a:lnTo>
                <a:lnTo>
                  <a:pt x="93" y="166"/>
                </a:lnTo>
                <a:lnTo>
                  <a:pt x="98" y="152"/>
                </a:lnTo>
                <a:lnTo>
                  <a:pt x="96" y="135"/>
                </a:lnTo>
                <a:lnTo>
                  <a:pt x="80" y="140"/>
                </a:lnTo>
                <a:lnTo>
                  <a:pt x="60" y="126"/>
                </a:lnTo>
                <a:lnTo>
                  <a:pt x="41" y="114"/>
                </a:lnTo>
                <a:lnTo>
                  <a:pt x="31" y="102"/>
                </a:lnTo>
                <a:lnTo>
                  <a:pt x="20" y="69"/>
                </a:lnTo>
                <a:lnTo>
                  <a:pt x="20" y="54"/>
                </a:lnTo>
                <a:lnTo>
                  <a:pt x="16" y="40"/>
                </a:lnTo>
                <a:lnTo>
                  <a:pt x="20" y="23"/>
                </a:lnTo>
                <a:lnTo>
                  <a:pt x="41" y="36"/>
                </a:lnTo>
                <a:lnTo>
                  <a:pt x="42" y="26"/>
                </a:lnTo>
                <a:lnTo>
                  <a:pt x="53" y="19"/>
                </a:lnTo>
                <a:lnTo>
                  <a:pt x="60" y="23"/>
                </a:lnTo>
                <a:lnTo>
                  <a:pt x="60" y="25"/>
                </a:lnTo>
                <a:close/>
              </a:path>
            </a:pathLst>
          </a:custGeom>
          <a:solidFill>
            <a:srgbClr val="FFB672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7" name="Freeform 35"/>
          <p:cNvSpPr>
            <a:spLocks noChangeArrowheads="1"/>
          </p:cNvSpPr>
          <p:nvPr/>
        </p:nvSpPr>
        <p:spPr bwMode="auto">
          <a:xfrm>
            <a:off x="2522720" y="2520226"/>
            <a:ext cx="99484" cy="200237"/>
          </a:xfrm>
          <a:custGeom>
            <a:avLst/>
            <a:gdLst>
              <a:gd name="T0" fmla="*/ 2147483647 w 46"/>
              <a:gd name="T1" fmla="*/ 2147483647 h 106"/>
              <a:gd name="T2" fmla="*/ 2147483647 w 46"/>
              <a:gd name="T3" fmla="*/ 2147483647 h 106"/>
              <a:gd name="T4" fmla="*/ 2147483647 w 46"/>
              <a:gd name="T5" fmla="*/ 2147483647 h 106"/>
              <a:gd name="T6" fmla="*/ 2147483647 w 46"/>
              <a:gd name="T7" fmla="*/ 2147483647 h 106"/>
              <a:gd name="T8" fmla="*/ 2147483647 w 46"/>
              <a:gd name="T9" fmla="*/ 2147483647 h 106"/>
              <a:gd name="T10" fmla="*/ 2147483647 w 46"/>
              <a:gd name="T11" fmla="*/ 2147483647 h 106"/>
              <a:gd name="T12" fmla="*/ 2147483647 w 46"/>
              <a:gd name="T13" fmla="*/ 2147483647 h 106"/>
              <a:gd name="T14" fmla="*/ 2147483647 w 46"/>
              <a:gd name="T15" fmla="*/ 2147483647 h 106"/>
              <a:gd name="T16" fmla="*/ 2147483647 w 46"/>
              <a:gd name="T17" fmla="*/ 2147483647 h 106"/>
              <a:gd name="T18" fmla="*/ 2147483647 w 46"/>
              <a:gd name="T19" fmla="*/ 2147483647 h 106"/>
              <a:gd name="T20" fmla="*/ 2147483647 w 46"/>
              <a:gd name="T21" fmla="*/ 2147483647 h 106"/>
              <a:gd name="T22" fmla="*/ 0 w 46"/>
              <a:gd name="T23" fmla="*/ 0 h 10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6"/>
              <a:gd name="T37" fmla="*/ 0 h 106"/>
              <a:gd name="T38" fmla="*/ 46 w 46"/>
              <a:gd name="T39" fmla="*/ 106 h 10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6" h="106">
                <a:moveTo>
                  <a:pt x="11" y="16"/>
                </a:moveTo>
                <a:lnTo>
                  <a:pt x="25" y="38"/>
                </a:lnTo>
                <a:lnTo>
                  <a:pt x="38" y="55"/>
                </a:lnTo>
                <a:lnTo>
                  <a:pt x="46" y="70"/>
                </a:lnTo>
                <a:lnTo>
                  <a:pt x="46" y="84"/>
                </a:lnTo>
                <a:lnTo>
                  <a:pt x="42" y="89"/>
                </a:lnTo>
                <a:lnTo>
                  <a:pt x="14" y="106"/>
                </a:lnTo>
                <a:lnTo>
                  <a:pt x="7" y="104"/>
                </a:lnTo>
                <a:lnTo>
                  <a:pt x="14" y="70"/>
                </a:lnTo>
                <a:lnTo>
                  <a:pt x="14" y="42"/>
                </a:lnTo>
                <a:lnTo>
                  <a:pt x="3" y="5"/>
                </a:lnTo>
                <a:lnTo>
                  <a:pt x="0" y="0"/>
                </a:lnTo>
                <a:close/>
              </a:path>
            </a:pathLst>
          </a:custGeom>
          <a:solidFill>
            <a:srgbClr val="FFB672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8" name="Freeform 36"/>
          <p:cNvSpPr>
            <a:spLocks noChangeArrowheads="1"/>
          </p:cNvSpPr>
          <p:nvPr/>
        </p:nvSpPr>
        <p:spPr bwMode="auto">
          <a:xfrm>
            <a:off x="3655972" y="2990594"/>
            <a:ext cx="614206" cy="731056"/>
          </a:xfrm>
          <a:custGeom>
            <a:avLst/>
            <a:gdLst>
              <a:gd name="T0" fmla="*/ 2147483647 w 284"/>
              <a:gd name="T1" fmla="*/ 2147483647 h 387"/>
              <a:gd name="T2" fmla="*/ 2147483647 w 284"/>
              <a:gd name="T3" fmla="*/ 2147483647 h 387"/>
              <a:gd name="T4" fmla="*/ 2147483647 w 284"/>
              <a:gd name="T5" fmla="*/ 2147483647 h 387"/>
              <a:gd name="T6" fmla="*/ 2147483647 w 284"/>
              <a:gd name="T7" fmla="*/ 2147483647 h 387"/>
              <a:gd name="T8" fmla="*/ 2147483647 w 284"/>
              <a:gd name="T9" fmla="*/ 2147483647 h 387"/>
              <a:gd name="T10" fmla="*/ 2147483647 w 284"/>
              <a:gd name="T11" fmla="*/ 2147483647 h 387"/>
              <a:gd name="T12" fmla="*/ 2147483647 w 284"/>
              <a:gd name="T13" fmla="*/ 2147483647 h 387"/>
              <a:gd name="T14" fmla="*/ 2147483647 w 284"/>
              <a:gd name="T15" fmla="*/ 2147483647 h 387"/>
              <a:gd name="T16" fmla="*/ 2147483647 w 284"/>
              <a:gd name="T17" fmla="*/ 2147483647 h 387"/>
              <a:gd name="T18" fmla="*/ 2147483647 w 284"/>
              <a:gd name="T19" fmla="*/ 2147483647 h 387"/>
              <a:gd name="T20" fmla="*/ 2147483647 w 284"/>
              <a:gd name="T21" fmla="*/ 2147483647 h 387"/>
              <a:gd name="T22" fmla="*/ 2147483647 w 284"/>
              <a:gd name="T23" fmla="*/ 2147483647 h 387"/>
              <a:gd name="T24" fmla="*/ 2147483647 w 284"/>
              <a:gd name="T25" fmla="*/ 2147483647 h 387"/>
              <a:gd name="T26" fmla="*/ 2147483647 w 284"/>
              <a:gd name="T27" fmla="*/ 2147483647 h 387"/>
              <a:gd name="T28" fmla="*/ 2147483647 w 284"/>
              <a:gd name="T29" fmla="*/ 2147483647 h 387"/>
              <a:gd name="T30" fmla="*/ 2147483647 w 284"/>
              <a:gd name="T31" fmla="*/ 2147483647 h 387"/>
              <a:gd name="T32" fmla="*/ 2147483647 w 284"/>
              <a:gd name="T33" fmla="*/ 2147483647 h 38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84"/>
              <a:gd name="T52" fmla="*/ 0 h 387"/>
              <a:gd name="T53" fmla="*/ 284 w 284"/>
              <a:gd name="T54" fmla="*/ 387 h 38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84" h="387">
                <a:moveTo>
                  <a:pt x="270" y="375"/>
                </a:moveTo>
                <a:cubicBezTo>
                  <a:pt x="270" y="375"/>
                  <a:pt x="266" y="279"/>
                  <a:pt x="266" y="271"/>
                </a:cubicBezTo>
                <a:cubicBezTo>
                  <a:pt x="266" y="254"/>
                  <a:pt x="270" y="230"/>
                  <a:pt x="277" y="216"/>
                </a:cubicBezTo>
                <a:cubicBezTo>
                  <a:pt x="284" y="206"/>
                  <a:pt x="280" y="177"/>
                  <a:pt x="280" y="165"/>
                </a:cubicBezTo>
                <a:cubicBezTo>
                  <a:pt x="281" y="148"/>
                  <a:pt x="269" y="119"/>
                  <a:pt x="256" y="113"/>
                </a:cubicBezTo>
                <a:cubicBezTo>
                  <a:pt x="198" y="87"/>
                  <a:pt x="186" y="51"/>
                  <a:pt x="151" y="36"/>
                </a:cubicBezTo>
                <a:cubicBezTo>
                  <a:pt x="104" y="29"/>
                  <a:pt x="118" y="27"/>
                  <a:pt x="87" y="17"/>
                </a:cubicBezTo>
                <a:cubicBezTo>
                  <a:pt x="57" y="18"/>
                  <a:pt x="57" y="0"/>
                  <a:pt x="38" y="12"/>
                </a:cubicBezTo>
                <a:cubicBezTo>
                  <a:pt x="23" y="21"/>
                  <a:pt x="40" y="50"/>
                  <a:pt x="32" y="56"/>
                </a:cubicBezTo>
                <a:cubicBezTo>
                  <a:pt x="30" y="58"/>
                  <a:pt x="30" y="53"/>
                  <a:pt x="10" y="67"/>
                </a:cubicBezTo>
                <a:cubicBezTo>
                  <a:pt x="0" y="76"/>
                  <a:pt x="10" y="104"/>
                  <a:pt x="18" y="120"/>
                </a:cubicBezTo>
                <a:cubicBezTo>
                  <a:pt x="25" y="137"/>
                  <a:pt x="47" y="141"/>
                  <a:pt x="57" y="159"/>
                </a:cubicBezTo>
                <a:cubicBezTo>
                  <a:pt x="69" y="181"/>
                  <a:pt x="67" y="194"/>
                  <a:pt x="84" y="216"/>
                </a:cubicBezTo>
                <a:cubicBezTo>
                  <a:pt x="95" y="241"/>
                  <a:pt x="91" y="271"/>
                  <a:pt x="108" y="302"/>
                </a:cubicBezTo>
                <a:cubicBezTo>
                  <a:pt x="120" y="326"/>
                  <a:pt x="139" y="367"/>
                  <a:pt x="140" y="373"/>
                </a:cubicBezTo>
                <a:cubicBezTo>
                  <a:pt x="147" y="387"/>
                  <a:pt x="208" y="355"/>
                  <a:pt x="208" y="355"/>
                </a:cubicBezTo>
                <a:cubicBezTo>
                  <a:pt x="224" y="351"/>
                  <a:pt x="266" y="387"/>
                  <a:pt x="270" y="375"/>
                </a:cubicBezTo>
                <a:close/>
              </a:path>
            </a:pathLst>
          </a:custGeom>
          <a:solidFill>
            <a:srgbClr val="FFC17D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9" name="Freeform 37"/>
          <p:cNvSpPr>
            <a:spLocks noChangeArrowheads="1"/>
          </p:cNvSpPr>
          <p:nvPr/>
        </p:nvSpPr>
        <p:spPr bwMode="auto">
          <a:xfrm>
            <a:off x="3837639" y="3124716"/>
            <a:ext cx="155714" cy="192681"/>
          </a:xfrm>
          <a:custGeom>
            <a:avLst/>
            <a:gdLst>
              <a:gd name="T0" fmla="*/ 0 w 72"/>
              <a:gd name="T1" fmla="*/ 2147483647 h 102"/>
              <a:gd name="T2" fmla="*/ 2147483647 w 72"/>
              <a:gd name="T3" fmla="*/ 2147483647 h 102"/>
              <a:gd name="T4" fmla="*/ 2147483647 w 72"/>
              <a:gd name="T5" fmla="*/ 2147483647 h 102"/>
              <a:gd name="T6" fmla="*/ 2147483647 w 72"/>
              <a:gd name="T7" fmla="*/ 2147483647 h 102"/>
              <a:gd name="T8" fmla="*/ 2147483647 w 72"/>
              <a:gd name="T9" fmla="*/ 2147483647 h 102"/>
              <a:gd name="T10" fmla="*/ 2147483647 w 72"/>
              <a:gd name="T11" fmla="*/ 2147483647 h 102"/>
              <a:gd name="T12" fmla="*/ 2147483647 w 72"/>
              <a:gd name="T13" fmla="*/ 2147483647 h 102"/>
              <a:gd name="T14" fmla="*/ 2147483647 w 72"/>
              <a:gd name="T15" fmla="*/ 2147483647 h 102"/>
              <a:gd name="T16" fmla="*/ 0 w 72"/>
              <a:gd name="T17" fmla="*/ 2147483647 h 10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72"/>
              <a:gd name="T28" fmla="*/ 0 h 102"/>
              <a:gd name="T29" fmla="*/ 72 w 72"/>
              <a:gd name="T30" fmla="*/ 102 h 10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72" h="102">
                <a:moveTo>
                  <a:pt x="0" y="19"/>
                </a:moveTo>
                <a:cubicBezTo>
                  <a:pt x="3" y="26"/>
                  <a:pt x="7" y="25"/>
                  <a:pt x="18" y="53"/>
                </a:cubicBezTo>
                <a:cubicBezTo>
                  <a:pt x="27" y="53"/>
                  <a:pt x="36" y="73"/>
                  <a:pt x="62" y="102"/>
                </a:cubicBezTo>
                <a:cubicBezTo>
                  <a:pt x="71" y="100"/>
                  <a:pt x="71" y="77"/>
                  <a:pt x="71" y="68"/>
                </a:cubicBezTo>
                <a:cubicBezTo>
                  <a:pt x="72" y="53"/>
                  <a:pt x="65" y="40"/>
                  <a:pt x="56" y="29"/>
                </a:cubicBezTo>
                <a:cubicBezTo>
                  <a:pt x="56" y="25"/>
                  <a:pt x="61" y="5"/>
                  <a:pt x="56" y="2"/>
                </a:cubicBezTo>
                <a:cubicBezTo>
                  <a:pt x="48" y="0"/>
                  <a:pt x="22" y="27"/>
                  <a:pt x="22" y="29"/>
                </a:cubicBezTo>
                <a:cubicBezTo>
                  <a:pt x="22" y="29"/>
                  <a:pt x="42" y="25"/>
                  <a:pt x="42" y="25"/>
                </a:cubicBezTo>
                <a:cubicBezTo>
                  <a:pt x="42" y="25"/>
                  <a:pt x="3" y="9"/>
                  <a:pt x="0" y="19"/>
                </a:cubicBezTo>
                <a:close/>
              </a:path>
            </a:pathLst>
          </a:custGeom>
          <a:solidFill>
            <a:srgbClr val="722900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0" name="Freeform 38"/>
          <p:cNvSpPr>
            <a:spLocks noChangeArrowheads="1"/>
          </p:cNvSpPr>
          <p:nvPr/>
        </p:nvSpPr>
        <p:spPr bwMode="auto">
          <a:xfrm>
            <a:off x="4088512" y="3139827"/>
            <a:ext cx="235735" cy="551597"/>
          </a:xfrm>
          <a:custGeom>
            <a:avLst/>
            <a:gdLst>
              <a:gd name="T0" fmla="*/ 0 w 109"/>
              <a:gd name="T1" fmla="*/ 0 h 292"/>
              <a:gd name="T2" fmla="*/ 2147483647 w 109"/>
              <a:gd name="T3" fmla="*/ 2147483647 h 292"/>
              <a:gd name="T4" fmla="*/ 2147483647 w 109"/>
              <a:gd name="T5" fmla="*/ 2147483647 h 292"/>
              <a:gd name="T6" fmla="*/ 2147483647 w 109"/>
              <a:gd name="T7" fmla="*/ 2147483647 h 292"/>
              <a:gd name="T8" fmla="*/ 2147483647 w 109"/>
              <a:gd name="T9" fmla="*/ 2147483647 h 292"/>
              <a:gd name="T10" fmla="*/ 2147483647 w 109"/>
              <a:gd name="T11" fmla="*/ 2147483647 h 292"/>
              <a:gd name="T12" fmla="*/ 2147483647 w 109"/>
              <a:gd name="T13" fmla="*/ 2147483647 h 292"/>
              <a:gd name="T14" fmla="*/ 0 w 109"/>
              <a:gd name="T15" fmla="*/ 0 h 29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09"/>
              <a:gd name="T25" fmla="*/ 0 h 292"/>
              <a:gd name="T26" fmla="*/ 109 w 109"/>
              <a:gd name="T27" fmla="*/ 292 h 29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09" h="292">
                <a:moveTo>
                  <a:pt x="0" y="0"/>
                </a:moveTo>
                <a:cubicBezTo>
                  <a:pt x="109" y="44"/>
                  <a:pt x="55" y="159"/>
                  <a:pt x="55" y="180"/>
                </a:cubicBezTo>
                <a:cubicBezTo>
                  <a:pt x="55" y="198"/>
                  <a:pt x="66" y="230"/>
                  <a:pt x="66" y="248"/>
                </a:cubicBezTo>
                <a:cubicBezTo>
                  <a:pt x="66" y="252"/>
                  <a:pt x="74" y="292"/>
                  <a:pt x="71" y="292"/>
                </a:cubicBezTo>
                <a:cubicBezTo>
                  <a:pt x="66" y="292"/>
                  <a:pt x="40" y="239"/>
                  <a:pt x="37" y="226"/>
                </a:cubicBezTo>
                <a:cubicBezTo>
                  <a:pt x="26" y="180"/>
                  <a:pt x="28" y="186"/>
                  <a:pt x="26" y="176"/>
                </a:cubicBezTo>
                <a:cubicBezTo>
                  <a:pt x="34" y="119"/>
                  <a:pt x="40" y="85"/>
                  <a:pt x="40" y="85"/>
                </a:cubicBezTo>
                <a:cubicBezTo>
                  <a:pt x="48" y="74"/>
                  <a:pt x="0" y="0"/>
                  <a:pt x="0" y="0"/>
                </a:cubicBezTo>
                <a:close/>
              </a:path>
            </a:pathLst>
          </a:custGeom>
          <a:solidFill>
            <a:srgbClr val="FFB672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1" name="Freeform 39"/>
          <p:cNvSpPr>
            <a:spLocks noChangeArrowheads="1"/>
          </p:cNvSpPr>
          <p:nvPr/>
        </p:nvSpPr>
        <p:spPr bwMode="auto">
          <a:xfrm>
            <a:off x="4172859" y="3205944"/>
            <a:ext cx="166527" cy="489260"/>
          </a:xfrm>
          <a:custGeom>
            <a:avLst/>
            <a:gdLst>
              <a:gd name="T0" fmla="*/ 2147483647 w 77"/>
              <a:gd name="T1" fmla="*/ 0 h 259"/>
              <a:gd name="T2" fmla="*/ 2147483647 w 77"/>
              <a:gd name="T3" fmla="*/ 2147483647 h 259"/>
              <a:gd name="T4" fmla="*/ 2147483647 w 77"/>
              <a:gd name="T5" fmla="*/ 2147483647 h 259"/>
              <a:gd name="T6" fmla="*/ 2147483647 w 77"/>
              <a:gd name="T7" fmla="*/ 2147483647 h 259"/>
              <a:gd name="T8" fmla="*/ 2147483647 w 77"/>
              <a:gd name="T9" fmla="*/ 2147483647 h 259"/>
              <a:gd name="T10" fmla="*/ 2147483647 w 77"/>
              <a:gd name="T11" fmla="*/ 2147483647 h 259"/>
              <a:gd name="T12" fmla="*/ 2147483647 w 77"/>
              <a:gd name="T13" fmla="*/ 2147483647 h 259"/>
              <a:gd name="T14" fmla="*/ 2147483647 w 77"/>
              <a:gd name="T15" fmla="*/ 0 h 25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77"/>
              <a:gd name="T25" fmla="*/ 0 h 259"/>
              <a:gd name="T26" fmla="*/ 77 w 77"/>
              <a:gd name="T27" fmla="*/ 259 h 25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77" h="259">
                <a:moveTo>
                  <a:pt x="8" y="0"/>
                </a:moveTo>
                <a:cubicBezTo>
                  <a:pt x="77" y="17"/>
                  <a:pt x="29" y="124"/>
                  <a:pt x="27" y="145"/>
                </a:cubicBezTo>
                <a:cubicBezTo>
                  <a:pt x="27" y="163"/>
                  <a:pt x="30" y="198"/>
                  <a:pt x="29" y="217"/>
                </a:cubicBezTo>
                <a:cubicBezTo>
                  <a:pt x="29" y="220"/>
                  <a:pt x="32" y="259"/>
                  <a:pt x="31" y="259"/>
                </a:cubicBezTo>
                <a:cubicBezTo>
                  <a:pt x="25" y="259"/>
                  <a:pt x="21" y="211"/>
                  <a:pt x="17" y="198"/>
                </a:cubicBezTo>
                <a:cubicBezTo>
                  <a:pt x="5" y="151"/>
                  <a:pt x="0" y="139"/>
                  <a:pt x="4" y="132"/>
                </a:cubicBezTo>
                <a:cubicBezTo>
                  <a:pt x="29" y="82"/>
                  <a:pt x="24" y="51"/>
                  <a:pt x="24" y="51"/>
                </a:cubicBezTo>
                <a:cubicBezTo>
                  <a:pt x="31" y="39"/>
                  <a:pt x="8" y="0"/>
                  <a:pt x="8" y="0"/>
                </a:cubicBezTo>
                <a:close/>
              </a:path>
            </a:pathLst>
          </a:custGeom>
          <a:solidFill>
            <a:srgbClr val="FFB672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2" name="Freeform 40"/>
          <p:cNvSpPr>
            <a:spLocks noChangeArrowheads="1"/>
          </p:cNvSpPr>
          <p:nvPr/>
        </p:nvSpPr>
        <p:spPr bwMode="auto">
          <a:xfrm>
            <a:off x="3958750" y="3219167"/>
            <a:ext cx="105973" cy="105786"/>
          </a:xfrm>
          <a:custGeom>
            <a:avLst/>
            <a:gdLst>
              <a:gd name="T0" fmla="*/ 2147483647 w 49"/>
              <a:gd name="T1" fmla="*/ 2147483647 h 56"/>
              <a:gd name="T2" fmla="*/ 2147483647 w 49"/>
              <a:gd name="T3" fmla="*/ 2147483647 h 56"/>
              <a:gd name="T4" fmla="*/ 2147483647 w 49"/>
              <a:gd name="T5" fmla="*/ 2147483647 h 56"/>
              <a:gd name="T6" fmla="*/ 2147483647 w 49"/>
              <a:gd name="T7" fmla="*/ 2147483647 h 56"/>
              <a:gd name="T8" fmla="*/ 2147483647 w 49"/>
              <a:gd name="T9" fmla="*/ 2147483647 h 5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9"/>
              <a:gd name="T16" fmla="*/ 0 h 56"/>
              <a:gd name="T17" fmla="*/ 49 w 49"/>
              <a:gd name="T18" fmla="*/ 56 h 5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9" h="56">
                <a:moveTo>
                  <a:pt x="8" y="56"/>
                </a:moveTo>
                <a:cubicBezTo>
                  <a:pt x="8" y="56"/>
                  <a:pt x="29" y="41"/>
                  <a:pt x="43" y="47"/>
                </a:cubicBezTo>
                <a:cubicBezTo>
                  <a:pt x="49" y="38"/>
                  <a:pt x="27" y="8"/>
                  <a:pt x="17" y="2"/>
                </a:cubicBezTo>
                <a:cubicBezTo>
                  <a:pt x="15" y="0"/>
                  <a:pt x="3" y="2"/>
                  <a:pt x="3" y="2"/>
                </a:cubicBezTo>
                <a:cubicBezTo>
                  <a:pt x="11" y="8"/>
                  <a:pt x="0" y="48"/>
                  <a:pt x="8" y="56"/>
                </a:cubicBezTo>
                <a:close/>
              </a:path>
            </a:pathLst>
          </a:custGeom>
          <a:solidFill>
            <a:srgbClr val="D59686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3" name="Freeform 41"/>
          <p:cNvSpPr>
            <a:spLocks noChangeArrowheads="1"/>
          </p:cNvSpPr>
          <p:nvPr/>
        </p:nvSpPr>
        <p:spPr bwMode="auto">
          <a:xfrm>
            <a:off x="3606231" y="2990593"/>
            <a:ext cx="648809" cy="408031"/>
          </a:xfrm>
          <a:custGeom>
            <a:avLst/>
            <a:gdLst>
              <a:gd name="T0" fmla="*/ 2147483647 w 300"/>
              <a:gd name="T1" fmla="*/ 2147483647 h 216"/>
              <a:gd name="T2" fmla="*/ 2147483647 w 300"/>
              <a:gd name="T3" fmla="*/ 2147483647 h 216"/>
              <a:gd name="T4" fmla="*/ 2147483647 w 300"/>
              <a:gd name="T5" fmla="*/ 2147483647 h 216"/>
              <a:gd name="T6" fmla="*/ 2147483647 w 300"/>
              <a:gd name="T7" fmla="*/ 2147483647 h 216"/>
              <a:gd name="T8" fmla="*/ 2147483647 w 300"/>
              <a:gd name="T9" fmla="*/ 2147483647 h 216"/>
              <a:gd name="T10" fmla="*/ 2147483647 w 300"/>
              <a:gd name="T11" fmla="*/ 0 h 216"/>
              <a:gd name="T12" fmla="*/ 0 w 300"/>
              <a:gd name="T13" fmla="*/ 2147483647 h 2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00"/>
              <a:gd name="T22" fmla="*/ 0 h 216"/>
              <a:gd name="T23" fmla="*/ 300 w 300"/>
              <a:gd name="T24" fmla="*/ 216 h 21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00" h="216">
                <a:moveTo>
                  <a:pt x="278" y="216"/>
                </a:moveTo>
                <a:lnTo>
                  <a:pt x="289" y="215"/>
                </a:lnTo>
                <a:lnTo>
                  <a:pt x="294" y="206"/>
                </a:lnTo>
                <a:lnTo>
                  <a:pt x="300" y="198"/>
                </a:lnTo>
                <a:lnTo>
                  <a:pt x="299" y="185"/>
                </a:lnTo>
                <a:lnTo>
                  <a:pt x="21" y="0"/>
                </a:lnTo>
                <a:lnTo>
                  <a:pt x="0" y="29"/>
                </a:lnTo>
                <a:close/>
              </a:path>
            </a:pathLst>
          </a:custGeom>
          <a:solidFill>
            <a:srgbClr val="DCDCDC"/>
          </a:solidFill>
          <a:ln w="12700">
            <a:solidFill>
              <a:srgbClr val="80808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4" name="Freeform 42"/>
          <p:cNvSpPr>
            <a:spLocks noChangeArrowheads="1"/>
          </p:cNvSpPr>
          <p:nvPr/>
        </p:nvSpPr>
        <p:spPr bwMode="auto">
          <a:xfrm>
            <a:off x="3506747" y="2932035"/>
            <a:ext cx="129762" cy="107674"/>
          </a:xfrm>
          <a:custGeom>
            <a:avLst/>
            <a:gdLst>
              <a:gd name="T0" fmla="*/ 2147483647 w 60"/>
              <a:gd name="T1" fmla="*/ 2147483647 h 57"/>
              <a:gd name="T2" fmla="*/ 2147483647 w 60"/>
              <a:gd name="T3" fmla="*/ 2147483647 h 57"/>
              <a:gd name="T4" fmla="*/ 2147483647 w 60"/>
              <a:gd name="T5" fmla="*/ 0 h 57"/>
              <a:gd name="T6" fmla="*/ 0 w 60"/>
              <a:gd name="T7" fmla="*/ 2147483647 h 57"/>
              <a:gd name="T8" fmla="*/ 0 60000 65536"/>
              <a:gd name="T9" fmla="*/ 0 60000 65536"/>
              <a:gd name="T10" fmla="*/ 0 60000 65536"/>
              <a:gd name="T11" fmla="*/ 0 60000 65536"/>
              <a:gd name="T12" fmla="*/ 0 w 60"/>
              <a:gd name="T13" fmla="*/ 0 h 57"/>
              <a:gd name="T14" fmla="*/ 60 w 60"/>
              <a:gd name="T15" fmla="*/ 57 h 5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0" h="57">
                <a:moveTo>
                  <a:pt x="44" y="57"/>
                </a:moveTo>
                <a:lnTo>
                  <a:pt x="60" y="30"/>
                </a:lnTo>
                <a:lnTo>
                  <a:pt x="15" y="0"/>
                </a:lnTo>
                <a:lnTo>
                  <a:pt x="0" y="24"/>
                </a:lnTo>
                <a:close/>
              </a:path>
            </a:pathLst>
          </a:custGeom>
          <a:solidFill>
            <a:srgbClr val="DA0030"/>
          </a:solidFill>
          <a:ln w="127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5" name="Freeform 43"/>
          <p:cNvSpPr>
            <a:spLocks noChangeArrowheads="1"/>
          </p:cNvSpPr>
          <p:nvPr/>
        </p:nvSpPr>
        <p:spPr bwMode="auto">
          <a:xfrm>
            <a:off x="3677600" y="3103935"/>
            <a:ext cx="211944" cy="153012"/>
          </a:xfrm>
          <a:custGeom>
            <a:avLst/>
            <a:gdLst>
              <a:gd name="T0" fmla="*/ 2147483647 w 98"/>
              <a:gd name="T1" fmla="*/ 0 h 81"/>
              <a:gd name="T2" fmla="*/ 2147483647 w 98"/>
              <a:gd name="T3" fmla="*/ 2147483647 h 81"/>
              <a:gd name="T4" fmla="*/ 2147483647 w 98"/>
              <a:gd name="T5" fmla="*/ 2147483647 h 81"/>
              <a:gd name="T6" fmla="*/ 2147483647 w 98"/>
              <a:gd name="T7" fmla="*/ 2147483647 h 81"/>
              <a:gd name="T8" fmla="*/ 2147483647 w 98"/>
              <a:gd name="T9" fmla="*/ 2147483647 h 81"/>
              <a:gd name="T10" fmla="*/ 2147483647 w 98"/>
              <a:gd name="T11" fmla="*/ 0 h 8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8"/>
              <a:gd name="T19" fmla="*/ 0 h 81"/>
              <a:gd name="T20" fmla="*/ 98 w 98"/>
              <a:gd name="T21" fmla="*/ 81 h 8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8" h="81">
                <a:moveTo>
                  <a:pt x="4" y="0"/>
                </a:moveTo>
                <a:cubicBezTo>
                  <a:pt x="4" y="0"/>
                  <a:pt x="25" y="1"/>
                  <a:pt x="30" y="3"/>
                </a:cubicBezTo>
                <a:cubicBezTo>
                  <a:pt x="38" y="5"/>
                  <a:pt x="55" y="13"/>
                  <a:pt x="59" y="19"/>
                </a:cubicBezTo>
                <a:cubicBezTo>
                  <a:pt x="64" y="23"/>
                  <a:pt x="98" y="63"/>
                  <a:pt x="87" y="76"/>
                </a:cubicBezTo>
                <a:cubicBezTo>
                  <a:pt x="82" y="81"/>
                  <a:pt x="20" y="38"/>
                  <a:pt x="20" y="38"/>
                </a:cubicBezTo>
                <a:cubicBezTo>
                  <a:pt x="14" y="33"/>
                  <a:pt x="0" y="6"/>
                  <a:pt x="4" y="0"/>
                </a:cubicBezTo>
                <a:close/>
              </a:path>
            </a:pathLst>
          </a:custGeom>
          <a:solidFill>
            <a:srgbClr val="FFB672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6" name="Freeform 44"/>
          <p:cNvSpPr>
            <a:spLocks noChangeArrowheads="1"/>
          </p:cNvSpPr>
          <p:nvPr/>
        </p:nvSpPr>
        <p:spPr bwMode="auto">
          <a:xfrm>
            <a:off x="3889545" y="3561081"/>
            <a:ext cx="151389" cy="137900"/>
          </a:xfrm>
          <a:custGeom>
            <a:avLst/>
            <a:gdLst>
              <a:gd name="T0" fmla="*/ 0 w 70"/>
              <a:gd name="T1" fmla="*/ 0 h 73"/>
              <a:gd name="T2" fmla="*/ 2147483647 w 70"/>
              <a:gd name="T3" fmla="*/ 2147483647 h 73"/>
              <a:gd name="T4" fmla="*/ 2147483647 w 70"/>
              <a:gd name="T5" fmla="*/ 2147483647 h 73"/>
              <a:gd name="T6" fmla="*/ 2147483647 w 70"/>
              <a:gd name="T7" fmla="*/ 2147483647 h 73"/>
              <a:gd name="T8" fmla="*/ 0 w 70"/>
              <a:gd name="T9" fmla="*/ 0 h 7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0"/>
              <a:gd name="T16" fmla="*/ 0 h 73"/>
              <a:gd name="T17" fmla="*/ 70 w 70"/>
              <a:gd name="T18" fmla="*/ 73 h 7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0" h="73">
                <a:moveTo>
                  <a:pt x="0" y="0"/>
                </a:moveTo>
                <a:cubicBezTo>
                  <a:pt x="10" y="10"/>
                  <a:pt x="37" y="50"/>
                  <a:pt x="70" y="71"/>
                </a:cubicBezTo>
                <a:cubicBezTo>
                  <a:pt x="68" y="73"/>
                  <a:pt x="39" y="65"/>
                  <a:pt x="32" y="62"/>
                </a:cubicBezTo>
                <a:cubicBezTo>
                  <a:pt x="28" y="59"/>
                  <a:pt x="19" y="38"/>
                  <a:pt x="19" y="36"/>
                </a:cubicBezTo>
                <a:cubicBezTo>
                  <a:pt x="20" y="32"/>
                  <a:pt x="0" y="0"/>
                  <a:pt x="0" y="0"/>
                </a:cubicBezTo>
                <a:close/>
              </a:path>
            </a:pathLst>
          </a:custGeom>
          <a:solidFill>
            <a:srgbClr val="FFB672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7" name="Freeform 45"/>
          <p:cNvSpPr>
            <a:spLocks noChangeArrowheads="1"/>
          </p:cNvSpPr>
          <p:nvPr/>
        </p:nvSpPr>
        <p:spPr bwMode="auto">
          <a:xfrm>
            <a:off x="3675437" y="3109604"/>
            <a:ext cx="112460" cy="94452"/>
          </a:xfrm>
          <a:custGeom>
            <a:avLst/>
            <a:gdLst>
              <a:gd name="T0" fmla="*/ 2147483647 w 52"/>
              <a:gd name="T1" fmla="*/ 2147483647 h 50"/>
              <a:gd name="T2" fmla="*/ 2147483647 w 52"/>
              <a:gd name="T3" fmla="*/ 2147483647 h 50"/>
              <a:gd name="T4" fmla="*/ 2147483647 w 52"/>
              <a:gd name="T5" fmla="*/ 2147483647 h 50"/>
              <a:gd name="T6" fmla="*/ 0 w 52"/>
              <a:gd name="T7" fmla="*/ 2147483647 h 50"/>
              <a:gd name="T8" fmla="*/ 2147483647 w 52"/>
              <a:gd name="T9" fmla="*/ 2147483647 h 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2"/>
              <a:gd name="T16" fmla="*/ 0 h 50"/>
              <a:gd name="T17" fmla="*/ 52 w 52"/>
              <a:gd name="T18" fmla="*/ 50 h 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2" h="50">
                <a:moveTo>
                  <a:pt x="15" y="50"/>
                </a:moveTo>
                <a:cubicBezTo>
                  <a:pt x="25" y="46"/>
                  <a:pt x="52" y="26"/>
                  <a:pt x="51" y="16"/>
                </a:cubicBezTo>
                <a:cubicBezTo>
                  <a:pt x="49" y="10"/>
                  <a:pt x="25" y="0"/>
                  <a:pt x="19" y="2"/>
                </a:cubicBezTo>
                <a:cubicBezTo>
                  <a:pt x="11" y="4"/>
                  <a:pt x="6" y="4"/>
                  <a:pt x="0" y="17"/>
                </a:cubicBezTo>
                <a:cubicBezTo>
                  <a:pt x="0" y="17"/>
                  <a:pt x="10" y="50"/>
                  <a:pt x="15" y="50"/>
                </a:cubicBezTo>
                <a:close/>
              </a:path>
            </a:pathLst>
          </a:custGeom>
          <a:solidFill>
            <a:srgbClr val="FFCF9B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8" name="Freeform 46"/>
          <p:cNvSpPr>
            <a:spLocks noChangeArrowheads="1"/>
          </p:cNvSpPr>
          <p:nvPr/>
        </p:nvSpPr>
        <p:spPr bwMode="auto">
          <a:xfrm>
            <a:off x="3852778" y="3258836"/>
            <a:ext cx="170852" cy="173791"/>
          </a:xfrm>
          <a:custGeom>
            <a:avLst/>
            <a:gdLst>
              <a:gd name="T0" fmla="*/ 2147483647 w 79"/>
              <a:gd name="T1" fmla="*/ 0 h 92"/>
              <a:gd name="T2" fmla="*/ 2147483647 w 79"/>
              <a:gd name="T3" fmla="*/ 2147483647 h 92"/>
              <a:gd name="T4" fmla="*/ 0 w 79"/>
              <a:gd name="T5" fmla="*/ 2147483647 h 92"/>
              <a:gd name="T6" fmla="*/ 2147483647 w 79"/>
              <a:gd name="T7" fmla="*/ 2147483647 h 92"/>
              <a:gd name="T8" fmla="*/ 2147483647 w 79"/>
              <a:gd name="T9" fmla="*/ 2147483647 h 92"/>
              <a:gd name="T10" fmla="*/ 2147483647 w 79"/>
              <a:gd name="T11" fmla="*/ 2147483647 h 92"/>
              <a:gd name="T12" fmla="*/ 2147483647 w 79"/>
              <a:gd name="T13" fmla="*/ 0 h 9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9"/>
              <a:gd name="T22" fmla="*/ 0 h 92"/>
              <a:gd name="T23" fmla="*/ 79 w 79"/>
              <a:gd name="T24" fmla="*/ 92 h 9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9" h="92">
                <a:moveTo>
                  <a:pt x="27" y="0"/>
                </a:moveTo>
                <a:cubicBezTo>
                  <a:pt x="29" y="11"/>
                  <a:pt x="62" y="29"/>
                  <a:pt x="35" y="57"/>
                </a:cubicBezTo>
                <a:cubicBezTo>
                  <a:pt x="31" y="60"/>
                  <a:pt x="0" y="62"/>
                  <a:pt x="0" y="66"/>
                </a:cubicBezTo>
                <a:cubicBezTo>
                  <a:pt x="0" y="70"/>
                  <a:pt x="11" y="92"/>
                  <a:pt x="24" y="90"/>
                </a:cubicBezTo>
                <a:cubicBezTo>
                  <a:pt x="27" y="88"/>
                  <a:pt x="49" y="78"/>
                  <a:pt x="57" y="73"/>
                </a:cubicBezTo>
                <a:cubicBezTo>
                  <a:pt x="66" y="73"/>
                  <a:pt x="73" y="86"/>
                  <a:pt x="74" y="82"/>
                </a:cubicBezTo>
                <a:cubicBezTo>
                  <a:pt x="79" y="46"/>
                  <a:pt x="44" y="3"/>
                  <a:pt x="27" y="0"/>
                </a:cubicBezTo>
                <a:close/>
              </a:path>
            </a:pathLst>
          </a:custGeom>
          <a:solidFill>
            <a:srgbClr val="FFB672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9" name="Freeform 47"/>
          <p:cNvSpPr>
            <a:spLocks noChangeArrowheads="1"/>
          </p:cNvSpPr>
          <p:nvPr/>
        </p:nvSpPr>
        <p:spPr bwMode="auto">
          <a:xfrm>
            <a:off x="1445695" y="2274651"/>
            <a:ext cx="942936" cy="595044"/>
          </a:xfrm>
          <a:custGeom>
            <a:avLst/>
            <a:gdLst>
              <a:gd name="T0" fmla="*/ 2147483647 w 436"/>
              <a:gd name="T1" fmla="*/ 2147483647 h 315"/>
              <a:gd name="T2" fmla="*/ 2147483647 w 436"/>
              <a:gd name="T3" fmla="*/ 2147483647 h 315"/>
              <a:gd name="T4" fmla="*/ 2147483647 w 436"/>
              <a:gd name="T5" fmla="*/ 2147483647 h 315"/>
              <a:gd name="T6" fmla="*/ 2147483647 w 436"/>
              <a:gd name="T7" fmla="*/ 2147483647 h 315"/>
              <a:gd name="T8" fmla="*/ 2147483647 w 436"/>
              <a:gd name="T9" fmla="*/ 2147483647 h 315"/>
              <a:gd name="T10" fmla="*/ 2147483647 w 436"/>
              <a:gd name="T11" fmla="*/ 2147483647 h 315"/>
              <a:gd name="T12" fmla="*/ 2147483647 w 436"/>
              <a:gd name="T13" fmla="*/ 2147483647 h 315"/>
              <a:gd name="T14" fmla="*/ 2147483647 w 436"/>
              <a:gd name="T15" fmla="*/ 2147483647 h 315"/>
              <a:gd name="T16" fmla="*/ 2147483647 w 436"/>
              <a:gd name="T17" fmla="*/ 2147483647 h 315"/>
              <a:gd name="T18" fmla="*/ 2147483647 w 436"/>
              <a:gd name="T19" fmla="*/ 2147483647 h 315"/>
              <a:gd name="T20" fmla="*/ 2147483647 w 436"/>
              <a:gd name="T21" fmla="*/ 2147483647 h 315"/>
              <a:gd name="T22" fmla="*/ 2147483647 w 436"/>
              <a:gd name="T23" fmla="*/ 2147483647 h 315"/>
              <a:gd name="T24" fmla="*/ 2147483647 w 436"/>
              <a:gd name="T25" fmla="*/ 2147483647 h 315"/>
              <a:gd name="T26" fmla="*/ 2147483647 w 436"/>
              <a:gd name="T27" fmla="*/ 2147483647 h 315"/>
              <a:gd name="T28" fmla="*/ 2147483647 w 436"/>
              <a:gd name="T29" fmla="*/ 2147483647 h 315"/>
              <a:gd name="T30" fmla="*/ 2147483647 w 436"/>
              <a:gd name="T31" fmla="*/ 2147483647 h 315"/>
              <a:gd name="T32" fmla="*/ 2147483647 w 436"/>
              <a:gd name="T33" fmla="*/ 2147483647 h 315"/>
              <a:gd name="T34" fmla="*/ 2147483647 w 436"/>
              <a:gd name="T35" fmla="*/ 2147483647 h 315"/>
              <a:gd name="T36" fmla="*/ 2147483647 w 436"/>
              <a:gd name="T37" fmla="*/ 2147483647 h 315"/>
              <a:gd name="T38" fmla="*/ 2147483647 w 436"/>
              <a:gd name="T39" fmla="*/ 2147483647 h 315"/>
              <a:gd name="T40" fmla="*/ 2147483647 w 436"/>
              <a:gd name="T41" fmla="*/ 2147483647 h 315"/>
              <a:gd name="T42" fmla="*/ 2147483647 w 436"/>
              <a:gd name="T43" fmla="*/ 2147483647 h 315"/>
              <a:gd name="T44" fmla="*/ 2147483647 w 436"/>
              <a:gd name="T45" fmla="*/ 2147483647 h 315"/>
              <a:gd name="T46" fmla="*/ 2147483647 w 436"/>
              <a:gd name="T47" fmla="*/ 2147483647 h 315"/>
              <a:gd name="T48" fmla="*/ 2147483647 w 436"/>
              <a:gd name="T49" fmla="*/ 2147483647 h 315"/>
              <a:gd name="T50" fmla="*/ 2147483647 w 436"/>
              <a:gd name="T51" fmla="*/ 2147483647 h 315"/>
              <a:gd name="T52" fmla="*/ 2147483647 w 436"/>
              <a:gd name="T53" fmla="*/ 2147483647 h 315"/>
              <a:gd name="T54" fmla="*/ 2147483647 w 436"/>
              <a:gd name="T55" fmla="*/ 2147483647 h 315"/>
              <a:gd name="T56" fmla="*/ 2147483647 w 436"/>
              <a:gd name="T57" fmla="*/ 2147483647 h 315"/>
              <a:gd name="T58" fmla="*/ 2147483647 w 436"/>
              <a:gd name="T59" fmla="*/ 2147483647 h 315"/>
              <a:gd name="T60" fmla="*/ 2147483647 w 436"/>
              <a:gd name="T61" fmla="*/ 2147483647 h 315"/>
              <a:gd name="T62" fmla="*/ 2147483647 w 436"/>
              <a:gd name="T63" fmla="*/ 2147483647 h 315"/>
              <a:gd name="T64" fmla="*/ 2147483647 w 436"/>
              <a:gd name="T65" fmla="*/ 2147483647 h 315"/>
              <a:gd name="T66" fmla="*/ 2147483647 w 436"/>
              <a:gd name="T67" fmla="*/ 2147483647 h 315"/>
              <a:gd name="T68" fmla="*/ 2147483647 w 436"/>
              <a:gd name="T69" fmla="*/ 0 h 31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436"/>
              <a:gd name="T106" fmla="*/ 0 h 315"/>
              <a:gd name="T107" fmla="*/ 436 w 436"/>
              <a:gd name="T108" fmla="*/ 315 h 315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436" h="315">
                <a:moveTo>
                  <a:pt x="426" y="23"/>
                </a:moveTo>
                <a:cubicBezTo>
                  <a:pt x="426" y="23"/>
                  <a:pt x="421" y="68"/>
                  <a:pt x="410" y="74"/>
                </a:cubicBezTo>
                <a:cubicBezTo>
                  <a:pt x="407" y="75"/>
                  <a:pt x="389" y="68"/>
                  <a:pt x="389" y="67"/>
                </a:cubicBezTo>
                <a:cubicBezTo>
                  <a:pt x="391" y="67"/>
                  <a:pt x="385" y="103"/>
                  <a:pt x="389" y="104"/>
                </a:cubicBezTo>
                <a:cubicBezTo>
                  <a:pt x="389" y="101"/>
                  <a:pt x="374" y="96"/>
                  <a:pt x="374" y="95"/>
                </a:cubicBezTo>
                <a:cubicBezTo>
                  <a:pt x="378" y="95"/>
                  <a:pt x="368" y="129"/>
                  <a:pt x="374" y="132"/>
                </a:cubicBezTo>
                <a:cubicBezTo>
                  <a:pt x="378" y="124"/>
                  <a:pt x="341" y="103"/>
                  <a:pt x="344" y="95"/>
                </a:cubicBezTo>
                <a:cubicBezTo>
                  <a:pt x="341" y="103"/>
                  <a:pt x="310" y="90"/>
                  <a:pt x="300" y="95"/>
                </a:cubicBezTo>
                <a:cubicBezTo>
                  <a:pt x="308" y="91"/>
                  <a:pt x="317" y="67"/>
                  <a:pt x="316" y="67"/>
                </a:cubicBezTo>
                <a:cubicBezTo>
                  <a:pt x="315" y="66"/>
                  <a:pt x="283" y="95"/>
                  <a:pt x="285" y="104"/>
                </a:cubicBezTo>
                <a:cubicBezTo>
                  <a:pt x="289" y="101"/>
                  <a:pt x="283" y="83"/>
                  <a:pt x="285" y="81"/>
                </a:cubicBezTo>
                <a:cubicBezTo>
                  <a:pt x="293" y="93"/>
                  <a:pt x="273" y="138"/>
                  <a:pt x="257" y="139"/>
                </a:cubicBezTo>
                <a:cubicBezTo>
                  <a:pt x="252" y="139"/>
                  <a:pt x="241" y="128"/>
                  <a:pt x="242" y="125"/>
                </a:cubicBezTo>
                <a:cubicBezTo>
                  <a:pt x="249" y="128"/>
                  <a:pt x="242" y="164"/>
                  <a:pt x="242" y="176"/>
                </a:cubicBezTo>
                <a:cubicBezTo>
                  <a:pt x="237" y="176"/>
                  <a:pt x="224" y="178"/>
                  <a:pt x="220" y="176"/>
                </a:cubicBezTo>
                <a:cubicBezTo>
                  <a:pt x="228" y="179"/>
                  <a:pt x="235" y="201"/>
                  <a:pt x="242" y="206"/>
                </a:cubicBezTo>
                <a:cubicBezTo>
                  <a:pt x="240" y="203"/>
                  <a:pt x="230" y="207"/>
                  <a:pt x="227" y="206"/>
                </a:cubicBezTo>
                <a:cubicBezTo>
                  <a:pt x="232" y="208"/>
                  <a:pt x="237" y="224"/>
                  <a:pt x="242" y="227"/>
                </a:cubicBezTo>
                <a:cubicBezTo>
                  <a:pt x="238" y="224"/>
                  <a:pt x="224" y="229"/>
                  <a:pt x="220" y="227"/>
                </a:cubicBezTo>
                <a:cubicBezTo>
                  <a:pt x="224" y="229"/>
                  <a:pt x="229" y="249"/>
                  <a:pt x="227" y="249"/>
                </a:cubicBezTo>
                <a:cubicBezTo>
                  <a:pt x="224" y="249"/>
                  <a:pt x="195" y="214"/>
                  <a:pt x="198" y="206"/>
                </a:cubicBezTo>
                <a:cubicBezTo>
                  <a:pt x="201" y="206"/>
                  <a:pt x="198" y="217"/>
                  <a:pt x="198" y="220"/>
                </a:cubicBezTo>
                <a:cubicBezTo>
                  <a:pt x="198" y="230"/>
                  <a:pt x="191" y="260"/>
                  <a:pt x="198" y="263"/>
                </a:cubicBezTo>
                <a:cubicBezTo>
                  <a:pt x="201" y="259"/>
                  <a:pt x="181" y="247"/>
                  <a:pt x="182" y="243"/>
                </a:cubicBezTo>
                <a:cubicBezTo>
                  <a:pt x="178" y="240"/>
                  <a:pt x="178" y="216"/>
                  <a:pt x="182" y="213"/>
                </a:cubicBezTo>
                <a:cubicBezTo>
                  <a:pt x="190" y="221"/>
                  <a:pt x="162" y="254"/>
                  <a:pt x="169" y="263"/>
                </a:cubicBezTo>
                <a:cubicBezTo>
                  <a:pt x="166" y="265"/>
                  <a:pt x="166" y="283"/>
                  <a:pt x="169" y="286"/>
                </a:cubicBezTo>
                <a:cubicBezTo>
                  <a:pt x="173" y="279"/>
                  <a:pt x="160" y="256"/>
                  <a:pt x="154" y="256"/>
                </a:cubicBezTo>
                <a:cubicBezTo>
                  <a:pt x="147" y="256"/>
                  <a:pt x="147" y="299"/>
                  <a:pt x="139" y="300"/>
                </a:cubicBezTo>
                <a:cubicBezTo>
                  <a:pt x="136" y="300"/>
                  <a:pt x="129" y="278"/>
                  <a:pt x="124" y="279"/>
                </a:cubicBezTo>
                <a:cubicBezTo>
                  <a:pt x="120" y="279"/>
                  <a:pt x="121" y="307"/>
                  <a:pt x="118" y="307"/>
                </a:cubicBezTo>
                <a:cubicBezTo>
                  <a:pt x="111" y="308"/>
                  <a:pt x="103" y="271"/>
                  <a:pt x="95" y="271"/>
                </a:cubicBezTo>
                <a:cubicBezTo>
                  <a:pt x="89" y="271"/>
                  <a:pt x="89" y="303"/>
                  <a:pt x="81" y="307"/>
                </a:cubicBezTo>
                <a:cubicBezTo>
                  <a:pt x="76" y="309"/>
                  <a:pt x="58" y="302"/>
                  <a:pt x="58" y="300"/>
                </a:cubicBezTo>
                <a:cubicBezTo>
                  <a:pt x="60" y="300"/>
                  <a:pt x="58" y="313"/>
                  <a:pt x="58" y="315"/>
                </a:cubicBezTo>
                <a:cubicBezTo>
                  <a:pt x="63" y="307"/>
                  <a:pt x="45" y="285"/>
                  <a:pt x="36" y="279"/>
                </a:cubicBezTo>
                <a:cubicBezTo>
                  <a:pt x="29" y="273"/>
                  <a:pt x="0" y="272"/>
                  <a:pt x="0" y="271"/>
                </a:cubicBezTo>
                <a:cubicBezTo>
                  <a:pt x="0" y="269"/>
                  <a:pt x="40" y="275"/>
                  <a:pt x="51" y="271"/>
                </a:cubicBezTo>
                <a:cubicBezTo>
                  <a:pt x="54" y="270"/>
                  <a:pt x="58" y="263"/>
                  <a:pt x="58" y="263"/>
                </a:cubicBezTo>
                <a:cubicBezTo>
                  <a:pt x="63" y="263"/>
                  <a:pt x="69" y="277"/>
                  <a:pt x="73" y="279"/>
                </a:cubicBezTo>
                <a:cubicBezTo>
                  <a:pt x="78" y="269"/>
                  <a:pt x="67" y="243"/>
                  <a:pt x="73" y="234"/>
                </a:cubicBezTo>
                <a:cubicBezTo>
                  <a:pt x="79" y="236"/>
                  <a:pt x="83" y="254"/>
                  <a:pt x="89" y="256"/>
                </a:cubicBezTo>
                <a:cubicBezTo>
                  <a:pt x="93" y="247"/>
                  <a:pt x="83" y="221"/>
                  <a:pt x="89" y="213"/>
                </a:cubicBezTo>
                <a:cubicBezTo>
                  <a:pt x="98" y="218"/>
                  <a:pt x="100" y="251"/>
                  <a:pt x="109" y="256"/>
                </a:cubicBezTo>
                <a:cubicBezTo>
                  <a:pt x="118" y="243"/>
                  <a:pt x="100" y="203"/>
                  <a:pt x="109" y="190"/>
                </a:cubicBezTo>
                <a:cubicBezTo>
                  <a:pt x="120" y="198"/>
                  <a:pt x="115" y="234"/>
                  <a:pt x="124" y="243"/>
                </a:cubicBezTo>
                <a:cubicBezTo>
                  <a:pt x="132" y="232"/>
                  <a:pt x="118" y="201"/>
                  <a:pt x="124" y="190"/>
                </a:cubicBezTo>
                <a:cubicBezTo>
                  <a:pt x="133" y="194"/>
                  <a:pt x="132" y="221"/>
                  <a:pt x="139" y="227"/>
                </a:cubicBezTo>
                <a:cubicBezTo>
                  <a:pt x="147" y="215"/>
                  <a:pt x="134" y="181"/>
                  <a:pt x="139" y="169"/>
                </a:cubicBezTo>
                <a:cubicBezTo>
                  <a:pt x="149" y="173"/>
                  <a:pt x="167" y="207"/>
                  <a:pt x="169" y="206"/>
                </a:cubicBezTo>
                <a:cubicBezTo>
                  <a:pt x="172" y="203"/>
                  <a:pt x="148" y="166"/>
                  <a:pt x="154" y="162"/>
                </a:cubicBezTo>
                <a:cubicBezTo>
                  <a:pt x="158" y="159"/>
                  <a:pt x="178" y="179"/>
                  <a:pt x="182" y="176"/>
                </a:cubicBezTo>
                <a:cubicBezTo>
                  <a:pt x="189" y="172"/>
                  <a:pt x="171" y="143"/>
                  <a:pt x="176" y="139"/>
                </a:cubicBezTo>
                <a:cubicBezTo>
                  <a:pt x="177" y="138"/>
                  <a:pt x="189" y="146"/>
                  <a:pt x="190" y="148"/>
                </a:cubicBezTo>
                <a:cubicBezTo>
                  <a:pt x="193" y="138"/>
                  <a:pt x="189" y="118"/>
                  <a:pt x="190" y="111"/>
                </a:cubicBezTo>
                <a:cubicBezTo>
                  <a:pt x="197" y="113"/>
                  <a:pt x="209" y="134"/>
                  <a:pt x="212" y="132"/>
                </a:cubicBezTo>
                <a:cubicBezTo>
                  <a:pt x="220" y="129"/>
                  <a:pt x="197" y="86"/>
                  <a:pt x="206" y="81"/>
                </a:cubicBezTo>
                <a:cubicBezTo>
                  <a:pt x="209" y="79"/>
                  <a:pt x="222" y="97"/>
                  <a:pt x="227" y="95"/>
                </a:cubicBezTo>
                <a:cubicBezTo>
                  <a:pt x="232" y="93"/>
                  <a:pt x="232" y="76"/>
                  <a:pt x="235" y="74"/>
                </a:cubicBezTo>
                <a:cubicBezTo>
                  <a:pt x="240" y="69"/>
                  <a:pt x="257" y="67"/>
                  <a:pt x="264" y="67"/>
                </a:cubicBezTo>
                <a:cubicBezTo>
                  <a:pt x="264" y="60"/>
                  <a:pt x="262" y="42"/>
                  <a:pt x="264" y="36"/>
                </a:cubicBezTo>
                <a:cubicBezTo>
                  <a:pt x="270" y="38"/>
                  <a:pt x="280" y="53"/>
                  <a:pt x="285" y="53"/>
                </a:cubicBezTo>
                <a:cubicBezTo>
                  <a:pt x="294" y="53"/>
                  <a:pt x="308" y="28"/>
                  <a:pt x="316" y="31"/>
                </a:cubicBezTo>
                <a:cubicBezTo>
                  <a:pt x="323" y="33"/>
                  <a:pt x="323" y="66"/>
                  <a:pt x="330" y="67"/>
                </a:cubicBezTo>
                <a:cubicBezTo>
                  <a:pt x="335" y="67"/>
                  <a:pt x="340" y="44"/>
                  <a:pt x="344" y="44"/>
                </a:cubicBezTo>
                <a:cubicBezTo>
                  <a:pt x="354" y="44"/>
                  <a:pt x="359" y="75"/>
                  <a:pt x="366" y="81"/>
                </a:cubicBezTo>
                <a:cubicBezTo>
                  <a:pt x="373" y="69"/>
                  <a:pt x="363" y="36"/>
                  <a:pt x="366" y="23"/>
                </a:cubicBezTo>
                <a:cubicBezTo>
                  <a:pt x="375" y="25"/>
                  <a:pt x="390" y="47"/>
                  <a:pt x="395" y="44"/>
                </a:cubicBezTo>
                <a:cubicBezTo>
                  <a:pt x="403" y="41"/>
                  <a:pt x="398" y="14"/>
                  <a:pt x="403" y="7"/>
                </a:cubicBezTo>
                <a:cubicBezTo>
                  <a:pt x="408" y="3"/>
                  <a:pt x="434" y="0"/>
                  <a:pt x="434" y="0"/>
                </a:cubicBezTo>
                <a:cubicBezTo>
                  <a:pt x="436" y="4"/>
                  <a:pt x="427" y="18"/>
                  <a:pt x="426" y="23"/>
                </a:cubicBezTo>
                <a:close/>
              </a:path>
            </a:pathLst>
          </a:custGeom>
          <a:solidFill>
            <a:srgbClr val="000000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20" name="Freeform 48"/>
          <p:cNvSpPr>
            <a:spLocks noChangeArrowheads="1"/>
          </p:cNvSpPr>
          <p:nvPr/>
        </p:nvSpPr>
        <p:spPr bwMode="auto">
          <a:xfrm>
            <a:off x="2269685" y="1791060"/>
            <a:ext cx="270337" cy="402363"/>
          </a:xfrm>
          <a:custGeom>
            <a:avLst/>
            <a:gdLst>
              <a:gd name="T0" fmla="*/ 2147483647 w 125"/>
              <a:gd name="T1" fmla="*/ 2147483647 h 213"/>
              <a:gd name="T2" fmla="*/ 2147483647 w 125"/>
              <a:gd name="T3" fmla="*/ 2147483647 h 213"/>
              <a:gd name="T4" fmla="*/ 2147483647 w 125"/>
              <a:gd name="T5" fmla="*/ 2147483647 h 213"/>
              <a:gd name="T6" fmla="*/ 2147483647 w 125"/>
              <a:gd name="T7" fmla="*/ 2147483647 h 213"/>
              <a:gd name="T8" fmla="*/ 2147483647 w 125"/>
              <a:gd name="T9" fmla="*/ 2147483647 h 213"/>
              <a:gd name="T10" fmla="*/ 2147483647 w 125"/>
              <a:gd name="T11" fmla="*/ 2147483647 h 213"/>
              <a:gd name="T12" fmla="*/ 2147483647 w 125"/>
              <a:gd name="T13" fmla="*/ 2147483647 h 213"/>
              <a:gd name="T14" fmla="*/ 2147483647 w 125"/>
              <a:gd name="T15" fmla="*/ 2147483647 h 213"/>
              <a:gd name="T16" fmla="*/ 2147483647 w 125"/>
              <a:gd name="T17" fmla="*/ 2147483647 h 213"/>
              <a:gd name="T18" fmla="*/ 2147483647 w 125"/>
              <a:gd name="T19" fmla="*/ 2147483647 h 213"/>
              <a:gd name="T20" fmla="*/ 2147483647 w 125"/>
              <a:gd name="T21" fmla="*/ 2147483647 h 213"/>
              <a:gd name="T22" fmla="*/ 2147483647 w 125"/>
              <a:gd name="T23" fmla="*/ 2147483647 h 213"/>
              <a:gd name="T24" fmla="*/ 2147483647 w 125"/>
              <a:gd name="T25" fmla="*/ 2147483647 h 213"/>
              <a:gd name="T26" fmla="*/ 0 w 125"/>
              <a:gd name="T27" fmla="*/ 2147483647 h 213"/>
              <a:gd name="T28" fmla="*/ 2147483647 w 125"/>
              <a:gd name="T29" fmla="*/ 2147483647 h 213"/>
              <a:gd name="T30" fmla="*/ 2147483647 w 125"/>
              <a:gd name="T31" fmla="*/ 0 h 213"/>
              <a:gd name="T32" fmla="*/ 2147483647 w 125"/>
              <a:gd name="T33" fmla="*/ 2147483647 h 21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25"/>
              <a:gd name="T52" fmla="*/ 0 h 213"/>
              <a:gd name="T53" fmla="*/ 125 w 125"/>
              <a:gd name="T54" fmla="*/ 213 h 21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25" h="213">
                <a:moveTo>
                  <a:pt x="74" y="60"/>
                </a:moveTo>
                <a:lnTo>
                  <a:pt x="45" y="51"/>
                </a:lnTo>
                <a:lnTo>
                  <a:pt x="102" y="118"/>
                </a:lnTo>
                <a:lnTo>
                  <a:pt x="89" y="103"/>
                </a:lnTo>
                <a:lnTo>
                  <a:pt x="125" y="154"/>
                </a:lnTo>
                <a:lnTo>
                  <a:pt x="95" y="139"/>
                </a:lnTo>
                <a:lnTo>
                  <a:pt x="111" y="183"/>
                </a:lnTo>
                <a:lnTo>
                  <a:pt x="89" y="213"/>
                </a:lnTo>
                <a:lnTo>
                  <a:pt x="89" y="162"/>
                </a:lnTo>
                <a:lnTo>
                  <a:pt x="59" y="103"/>
                </a:lnTo>
                <a:lnTo>
                  <a:pt x="59" y="154"/>
                </a:lnTo>
                <a:lnTo>
                  <a:pt x="8" y="74"/>
                </a:lnTo>
                <a:lnTo>
                  <a:pt x="37" y="80"/>
                </a:lnTo>
                <a:lnTo>
                  <a:pt x="0" y="31"/>
                </a:lnTo>
                <a:lnTo>
                  <a:pt x="14" y="31"/>
                </a:lnTo>
                <a:lnTo>
                  <a:pt x="14" y="0"/>
                </a:lnTo>
                <a:lnTo>
                  <a:pt x="29" y="16"/>
                </a:lnTo>
                <a:close/>
              </a:path>
            </a:pathLst>
          </a:custGeom>
          <a:solidFill>
            <a:srgbClr val="8F460D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21" name="Freeform 49"/>
          <p:cNvSpPr>
            <a:spLocks noChangeArrowheads="1"/>
          </p:cNvSpPr>
          <p:nvPr/>
        </p:nvSpPr>
        <p:spPr bwMode="auto">
          <a:xfrm>
            <a:off x="1207799" y="1694719"/>
            <a:ext cx="713690" cy="457146"/>
          </a:xfrm>
          <a:custGeom>
            <a:avLst/>
            <a:gdLst>
              <a:gd name="T0" fmla="*/ 2147483647 w 330"/>
              <a:gd name="T1" fmla="*/ 2147483647 h 242"/>
              <a:gd name="T2" fmla="*/ 2147483647 w 330"/>
              <a:gd name="T3" fmla="*/ 2147483647 h 242"/>
              <a:gd name="T4" fmla="*/ 2147483647 w 330"/>
              <a:gd name="T5" fmla="*/ 2147483647 h 242"/>
              <a:gd name="T6" fmla="*/ 2147483647 w 330"/>
              <a:gd name="T7" fmla="*/ 2147483647 h 242"/>
              <a:gd name="T8" fmla="*/ 2147483647 w 330"/>
              <a:gd name="T9" fmla="*/ 2147483647 h 242"/>
              <a:gd name="T10" fmla="*/ 2147483647 w 330"/>
              <a:gd name="T11" fmla="*/ 2147483647 h 242"/>
              <a:gd name="T12" fmla="*/ 2147483647 w 330"/>
              <a:gd name="T13" fmla="*/ 2147483647 h 242"/>
              <a:gd name="T14" fmla="*/ 2147483647 w 330"/>
              <a:gd name="T15" fmla="*/ 2147483647 h 242"/>
              <a:gd name="T16" fmla="*/ 2147483647 w 330"/>
              <a:gd name="T17" fmla="*/ 2147483647 h 242"/>
              <a:gd name="T18" fmla="*/ 2147483647 w 330"/>
              <a:gd name="T19" fmla="*/ 2147483647 h 242"/>
              <a:gd name="T20" fmla="*/ 2147483647 w 330"/>
              <a:gd name="T21" fmla="*/ 2147483647 h 242"/>
              <a:gd name="T22" fmla="*/ 2147483647 w 330"/>
              <a:gd name="T23" fmla="*/ 2147483647 h 242"/>
              <a:gd name="T24" fmla="*/ 0 w 330"/>
              <a:gd name="T25" fmla="*/ 2147483647 h 242"/>
              <a:gd name="T26" fmla="*/ 2147483647 w 330"/>
              <a:gd name="T27" fmla="*/ 2147483647 h 242"/>
              <a:gd name="T28" fmla="*/ 0 w 330"/>
              <a:gd name="T29" fmla="*/ 2147483647 h 242"/>
              <a:gd name="T30" fmla="*/ 2147483647 w 330"/>
              <a:gd name="T31" fmla="*/ 2147483647 h 242"/>
              <a:gd name="T32" fmla="*/ 2147483647 w 330"/>
              <a:gd name="T33" fmla="*/ 2147483647 h 242"/>
              <a:gd name="T34" fmla="*/ 2147483647 w 330"/>
              <a:gd name="T35" fmla="*/ 2147483647 h 242"/>
              <a:gd name="T36" fmla="*/ 2147483647 w 330"/>
              <a:gd name="T37" fmla="*/ 2147483647 h 242"/>
              <a:gd name="T38" fmla="*/ 2147483647 w 330"/>
              <a:gd name="T39" fmla="*/ 2147483647 h 242"/>
              <a:gd name="T40" fmla="*/ 2147483647 w 330"/>
              <a:gd name="T41" fmla="*/ 2147483647 h 242"/>
              <a:gd name="T42" fmla="*/ 2147483647 w 330"/>
              <a:gd name="T43" fmla="*/ 2147483647 h 242"/>
              <a:gd name="T44" fmla="*/ 2147483647 w 330"/>
              <a:gd name="T45" fmla="*/ 2147483647 h 242"/>
              <a:gd name="T46" fmla="*/ 2147483647 w 330"/>
              <a:gd name="T47" fmla="*/ 2147483647 h 242"/>
              <a:gd name="T48" fmla="*/ 2147483647 w 330"/>
              <a:gd name="T49" fmla="*/ 2147483647 h 242"/>
              <a:gd name="T50" fmla="*/ 2147483647 w 330"/>
              <a:gd name="T51" fmla="*/ 2147483647 h 242"/>
              <a:gd name="T52" fmla="*/ 2147483647 w 330"/>
              <a:gd name="T53" fmla="*/ 2147483647 h 242"/>
              <a:gd name="T54" fmla="*/ 2147483647 w 330"/>
              <a:gd name="T55" fmla="*/ 2147483647 h 242"/>
              <a:gd name="T56" fmla="*/ 2147483647 w 330"/>
              <a:gd name="T57" fmla="*/ 2147483647 h 242"/>
              <a:gd name="T58" fmla="*/ 2147483647 w 330"/>
              <a:gd name="T59" fmla="*/ 2147483647 h 242"/>
              <a:gd name="T60" fmla="*/ 2147483647 w 330"/>
              <a:gd name="T61" fmla="*/ 2147483647 h 242"/>
              <a:gd name="T62" fmla="*/ 2147483647 w 330"/>
              <a:gd name="T63" fmla="*/ 2147483647 h 242"/>
              <a:gd name="T64" fmla="*/ 2147483647 w 330"/>
              <a:gd name="T65" fmla="*/ 2147483647 h 242"/>
              <a:gd name="T66" fmla="*/ 2147483647 w 330"/>
              <a:gd name="T67" fmla="*/ 2147483647 h 242"/>
              <a:gd name="T68" fmla="*/ 2147483647 w 330"/>
              <a:gd name="T69" fmla="*/ 2147483647 h 242"/>
              <a:gd name="T70" fmla="*/ 2147483647 w 330"/>
              <a:gd name="T71" fmla="*/ 0 h 24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30"/>
              <a:gd name="T109" fmla="*/ 0 h 242"/>
              <a:gd name="T110" fmla="*/ 330 w 330"/>
              <a:gd name="T111" fmla="*/ 242 h 242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30" h="242">
                <a:moveTo>
                  <a:pt x="183" y="15"/>
                </a:moveTo>
                <a:lnTo>
                  <a:pt x="191" y="22"/>
                </a:lnTo>
                <a:lnTo>
                  <a:pt x="139" y="22"/>
                </a:lnTo>
                <a:lnTo>
                  <a:pt x="118" y="67"/>
                </a:lnTo>
                <a:lnTo>
                  <a:pt x="102" y="67"/>
                </a:lnTo>
                <a:lnTo>
                  <a:pt x="96" y="95"/>
                </a:lnTo>
                <a:lnTo>
                  <a:pt x="43" y="102"/>
                </a:lnTo>
                <a:lnTo>
                  <a:pt x="73" y="118"/>
                </a:lnTo>
                <a:lnTo>
                  <a:pt x="43" y="125"/>
                </a:lnTo>
                <a:lnTo>
                  <a:pt x="66" y="148"/>
                </a:lnTo>
                <a:lnTo>
                  <a:pt x="22" y="162"/>
                </a:lnTo>
                <a:lnTo>
                  <a:pt x="22" y="184"/>
                </a:lnTo>
                <a:lnTo>
                  <a:pt x="0" y="227"/>
                </a:lnTo>
                <a:lnTo>
                  <a:pt x="51" y="198"/>
                </a:lnTo>
                <a:lnTo>
                  <a:pt x="0" y="242"/>
                </a:lnTo>
                <a:lnTo>
                  <a:pt x="60" y="220"/>
                </a:lnTo>
                <a:lnTo>
                  <a:pt x="110" y="176"/>
                </a:lnTo>
                <a:lnTo>
                  <a:pt x="51" y="184"/>
                </a:lnTo>
                <a:lnTo>
                  <a:pt x="102" y="162"/>
                </a:lnTo>
                <a:lnTo>
                  <a:pt x="88" y="148"/>
                </a:lnTo>
                <a:lnTo>
                  <a:pt x="154" y="139"/>
                </a:lnTo>
                <a:lnTo>
                  <a:pt x="102" y="125"/>
                </a:lnTo>
                <a:lnTo>
                  <a:pt x="154" y="125"/>
                </a:lnTo>
                <a:lnTo>
                  <a:pt x="125" y="102"/>
                </a:lnTo>
                <a:lnTo>
                  <a:pt x="154" y="102"/>
                </a:lnTo>
                <a:lnTo>
                  <a:pt x="133" y="82"/>
                </a:lnTo>
                <a:lnTo>
                  <a:pt x="199" y="82"/>
                </a:lnTo>
                <a:lnTo>
                  <a:pt x="161" y="67"/>
                </a:lnTo>
                <a:lnTo>
                  <a:pt x="234" y="67"/>
                </a:lnTo>
                <a:lnTo>
                  <a:pt x="183" y="44"/>
                </a:lnTo>
                <a:lnTo>
                  <a:pt x="242" y="44"/>
                </a:lnTo>
                <a:lnTo>
                  <a:pt x="219" y="30"/>
                </a:lnTo>
                <a:lnTo>
                  <a:pt x="286" y="38"/>
                </a:lnTo>
                <a:lnTo>
                  <a:pt x="249" y="22"/>
                </a:lnTo>
                <a:lnTo>
                  <a:pt x="330" y="15"/>
                </a:lnTo>
                <a:lnTo>
                  <a:pt x="279" y="0"/>
                </a:lnTo>
                <a:close/>
              </a:path>
            </a:pathLst>
          </a:custGeom>
          <a:solidFill>
            <a:srgbClr val="8F460D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22" name="Freeform 50"/>
          <p:cNvSpPr>
            <a:spLocks noChangeArrowheads="1"/>
          </p:cNvSpPr>
          <p:nvPr/>
        </p:nvSpPr>
        <p:spPr bwMode="auto">
          <a:xfrm>
            <a:off x="844466" y="4222242"/>
            <a:ext cx="679087" cy="1836138"/>
          </a:xfrm>
          <a:custGeom>
            <a:avLst/>
            <a:gdLst>
              <a:gd name="T0" fmla="*/ 0 w 314"/>
              <a:gd name="T1" fmla="*/ 2147483647 h 972"/>
              <a:gd name="T2" fmla="*/ 0 w 314"/>
              <a:gd name="T3" fmla="*/ 2147483647 h 972"/>
              <a:gd name="T4" fmla="*/ 2147483647 w 314"/>
              <a:gd name="T5" fmla="*/ 2147483647 h 972"/>
              <a:gd name="T6" fmla="*/ 2147483647 w 314"/>
              <a:gd name="T7" fmla="*/ 2147483647 h 972"/>
              <a:gd name="T8" fmla="*/ 2147483647 w 314"/>
              <a:gd name="T9" fmla="*/ 2147483647 h 972"/>
              <a:gd name="T10" fmla="*/ 2147483647 w 314"/>
              <a:gd name="T11" fmla="*/ 2147483647 h 972"/>
              <a:gd name="T12" fmla="*/ 2147483647 w 314"/>
              <a:gd name="T13" fmla="*/ 2147483647 h 972"/>
              <a:gd name="T14" fmla="*/ 2147483647 w 314"/>
              <a:gd name="T15" fmla="*/ 2147483647 h 972"/>
              <a:gd name="T16" fmla="*/ 2147483647 w 314"/>
              <a:gd name="T17" fmla="*/ 2147483647 h 972"/>
              <a:gd name="T18" fmla="*/ 2147483647 w 314"/>
              <a:gd name="T19" fmla="*/ 2147483647 h 972"/>
              <a:gd name="T20" fmla="*/ 2147483647 w 314"/>
              <a:gd name="T21" fmla="*/ 2147483647 h 972"/>
              <a:gd name="T22" fmla="*/ 2147483647 w 314"/>
              <a:gd name="T23" fmla="*/ 0 h 972"/>
              <a:gd name="T24" fmla="*/ 0 w 314"/>
              <a:gd name="T25" fmla="*/ 2147483647 h 97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14"/>
              <a:gd name="T40" fmla="*/ 0 h 972"/>
              <a:gd name="T41" fmla="*/ 314 w 314"/>
              <a:gd name="T42" fmla="*/ 972 h 97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14" h="972">
                <a:moveTo>
                  <a:pt x="0" y="382"/>
                </a:moveTo>
                <a:lnTo>
                  <a:pt x="0" y="624"/>
                </a:lnTo>
                <a:lnTo>
                  <a:pt x="70" y="902"/>
                </a:lnTo>
                <a:lnTo>
                  <a:pt x="35" y="902"/>
                </a:lnTo>
                <a:lnTo>
                  <a:pt x="86" y="972"/>
                </a:lnTo>
                <a:lnTo>
                  <a:pt x="314" y="972"/>
                </a:lnTo>
                <a:lnTo>
                  <a:pt x="104" y="937"/>
                </a:lnTo>
                <a:lnTo>
                  <a:pt x="140" y="884"/>
                </a:lnTo>
                <a:lnTo>
                  <a:pt x="52" y="711"/>
                </a:lnTo>
                <a:lnTo>
                  <a:pt x="122" y="694"/>
                </a:lnTo>
                <a:lnTo>
                  <a:pt x="52" y="520"/>
                </a:lnTo>
                <a:lnTo>
                  <a:pt x="17" y="0"/>
                </a:lnTo>
                <a:lnTo>
                  <a:pt x="0" y="51"/>
                </a:lnTo>
                <a:close/>
              </a:path>
            </a:pathLst>
          </a:custGeom>
          <a:solidFill>
            <a:srgbClr val="D4D6A4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23" name="Text Box 51"/>
          <p:cNvSpPr txBox="1">
            <a:spLocks noChangeArrowheads="1"/>
          </p:cNvSpPr>
          <p:nvPr/>
        </p:nvSpPr>
        <p:spPr bwMode="auto">
          <a:xfrm>
            <a:off x="3627858" y="2960370"/>
            <a:ext cx="7093649" cy="562931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eaLnBrk="0" hangingPunct="0">
              <a:spcAft>
                <a:spcPct val="15000"/>
              </a:spcAft>
            </a:pPr>
            <a:r>
              <a:rPr lang="en-US" sz="3100">
                <a:solidFill>
                  <a:srgbClr val="000000"/>
                </a:solidFill>
                <a:latin typeface="Gill Sans" pitchFamily="34" charset="0"/>
                <a:cs typeface="Arial" pitchFamily="34" charset="0"/>
              </a:rPr>
              <a:t> </a:t>
            </a:r>
          </a:p>
        </p:txBody>
      </p:sp>
      <p:sp>
        <p:nvSpPr>
          <p:cNvPr id="56" name="Text Box 7"/>
          <p:cNvSpPr txBox="1">
            <a:spLocks noChangeArrowheads="1"/>
          </p:cNvSpPr>
          <p:nvPr/>
        </p:nvSpPr>
        <p:spPr bwMode="auto">
          <a:xfrm>
            <a:off x="3388011" y="4713893"/>
            <a:ext cx="6851427" cy="834952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kumimoji="1" lang="en-US" sz="4000" dirty="0">
                <a:solidFill>
                  <a:srgbClr val="0033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Thank You!!!!</a:t>
            </a:r>
          </a:p>
        </p:txBody>
      </p:sp>
      <p:graphicFrame>
        <p:nvGraphicFramePr>
          <p:cNvPr id="57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80688372"/>
              </p:ext>
            </p:extLst>
          </p:nvPr>
        </p:nvGraphicFramePr>
        <p:xfrm>
          <a:off x="4724346" y="769094"/>
          <a:ext cx="4520038" cy="3623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Clip" r:id="rId4" imgW="3228840" imgH="3044520" progId="">
                  <p:embed/>
                </p:oleObj>
              </mc:Choice>
              <mc:Fallback>
                <p:oleObj name="Clip" r:id="rId4" imgW="3228840" imgH="3044520" progId="">
                  <p:embed/>
                  <p:pic>
                    <p:nvPicPr>
                      <p:cNvPr id="57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24346" y="769094"/>
                        <a:ext cx="4520038" cy="36231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4AAD5462-ECC4-124A-8BD4-2C5DF7540FAA}"/>
              </a:ext>
            </a:extLst>
          </p:cNvPr>
          <p:cNvSpPr txBox="1"/>
          <p:nvPr/>
        </p:nvSpPr>
        <p:spPr>
          <a:xfrm>
            <a:off x="8327333" y="4819677"/>
            <a:ext cx="334251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accent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ksingh@uptimeinstitute.com</a:t>
            </a:r>
            <a:endParaRPr lang="en-US" sz="2000" dirty="0">
              <a:solidFill>
                <a:schemeClr val="accent1"/>
              </a:solidFill>
            </a:endParaRPr>
          </a:p>
          <a:p>
            <a:r>
              <a:rPr lang="en-US" sz="2000" dirty="0">
                <a:solidFill>
                  <a:schemeClr val="accent1"/>
                </a:solidFill>
              </a:rPr>
              <a:t>Mobile: +91-9686926201</a:t>
            </a:r>
          </a:p>
        </p:txBody>
      </p:sp>
    </p:spTree>
    <p:extLst>
      <p:ext uri="{BB962C8B-B14F-4D97-AF65-F5344CB8AC3E}">
        <p14:creationId xmlns:p14="http://schemas.microsoft.com/office/powerpoint/2010/main" val="34464245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5906" y="124787"/>
            <a:ext cx="10515600" cy="643719"/>
          </a:xfrm>
        </p:spPr>
        <p:txBody>
          <a:bodyPr>
            <a:normAutofit fontScale="90000"/>
          </a:bodyPr>
          <a:lstStyle/>
          <a:p>
            <a:r>
              <a:rPr lang="en-US" dirty="0"/>
              <a:t>Business Value</a:t>
            </a:r>
          </a:p>
        </p:txBody>
      </p: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43D9E1E4-6F79-FF4B-97AA-ED1FA40988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4330428"/>
              </p:ext>
            </p:extLst>
          </p:nvPr>
        </p:nvGraphicFramePr>
        <p:xfrm>
          <a:off x="586854" y="918634"/>
          <a:ext cx="11081980" cy="5213350"/>
        </p:xfrm>
        <a:graphic>
          <a:graphicData uri="http://schemas.openxmlformats.org/drawingml/2006/table">
            <a:tbl>
              <a:tblPr/>
              <a:tblGrid>
                <a:gridCol w="22163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63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163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163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163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004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29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ast &amp; Flexibl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eliabl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ustainabl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Efficient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vestment Protection &amp; ROI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41" name="Picture 7" descr="OperationalEfficiency.jpg">
            <a:extLst>
              <a:ext uri="{FF2B5EF4-FFF2-40B4-BE49-F238E27FC236}">
                <a16:creationId xmlns:a16="http://schemas.microsoft.com/office/drawing/2014/main" id="{E6183DD6-3F59-BD4A-889D-40A278D02D7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7529" y="994834"/>
            <a:ext cx="2014906" cy="301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10" descr="Cost Efficiency.jpg">
            <a:extLst>
              <a:ext uri="{FF2B5EF4-FFF2-40B4-BE49-F238E27FC236}">
                <a16:creationId xmlns:a16="http://schemas.microsoft.com/office/drawing/2014/main" id="{CF197A21-BC6E-C347-AB8B-DA6B607FDFA8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40192" y="981186"/>
            <a:ext cx="1989720" cy="30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11" descr="Better Visibility.jpg">
            <a:extLst>
              <a:ext uri="{FF2B5EF4-FFF2-40B4-BE49-F238E27FC236}">
                <a16:creationId xmlns:a16="http://schemas.microsoft.com/office/drawing/2014/main" id="{A63FB309-61FA-C348-B875-D4AEE1AE7BC0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551071" y="978319"/>
            <a:ext cx="2014906" cy="30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9F2846C-AD5D-E04D-ACFF-93D2223A70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93116" y="1011349"/>
            <a:ext cx="2014906" cy="301783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79EACD-8E81-0749-AA39-99830663EB8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23677" y="981186"/>
            <a:ext cx="2014906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4756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5906" y="124787"/>
            <a:ext cx="10515600" cy="643719"/>
          </a:xfrm>
        </p:spPr>
        <p:txBody>
          <a:bodyPr>
            <a:normAutofit fontScale="90000"/>
          </a:bodyPr>
          <a:lstStyle/>
          <a:p>
            <a:r>
              <a:rPr lang="en-US" dirty="0"/>
              <a:t>Data Center Layer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7112603-835B-8D40-9CB1-148DD97D3DE4}"/>
              </a:ext>
            </a:extLst>
          </p:cNvPr>
          <p:cNvGrpSpPr/>
          <p:nvPr/>
        </p:nvGrpSpPr>
        <p:grpSpPr>
          <a:xfrm>
            <a:off x="0" y="768506"/>
            <a:ext cx="11982734" cy="5263994"/>
            <a:chOff x="0" y="1358900"/>
            <a:chExt cx="9144000" cy="46736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CEB4E0F-A4FE-034A-99BB-DE460693D6F6}"/>
                </a:ext>
              </a:extLst>
            </p:cNvPr>
            <p:cNvSpPr/>
            <p:nvPr/>
          </p:nvSpPr>
          <p:spPr>
            <a:xfrm>
              <a:off x="1371600" y="5257800"/>
              <a:ext cx="6477000" cy="762000"/>
            </a:xfrm>
            <a:prstGeom prst="rect">
              <a:avLst/>
            </a:prstGeom>
            <a:solidFill>
              <a:srgbClr val="FF0000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800" b="1" dirty="0"/>
                <a:t>Building Layer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B75038E-D16A-8347-9C1C-C3145A8C7817}"/>
                </a:ext>
              </a:extLst>
            </p:cNvPr>
            <p:cNvSpPr/>
            <p:nvPr/>
          </p:nvSpPr>
          <p:spPr>
            <a:xfrm>
              <a:off x="1371600" y="4495800"/>
              <a:ext cx="6477000" cy="762000"/>
            </a:xfrm>
            <a:prstGeom prst="rect">
              <a:avLst/>
            </a:prstGeom>
            <a:solidFill>
              <a:srgbClr val="FFC000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800" b="1" dirty="0"/>
                <a:t>Network Layer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310588-799C-654D-8ABB-3C4121D1850A}"/>
                </a:ext>
              </a:extLst>
            </p:cNvPr>
            <p:cNvSpPr/>
            <p:nvPr/>
          </p:nvSpPr>
          <p:spPr>
            <a:xfrm>
              <a:off x="1371600" y="3733800"/>
              <a:ext cx="6477000" cy="762000"/>
            </a:xfrm>
            <a:prstGeom prst="rect">
              <a:avLst/>
            </a:prstGeom>
            <a:solidFill>
              <a:srgbClr val="0070C0"/>
            </a:soli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800" b="1" dirty="0"/>
                <a:t>Server/Storage Layer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333F6F8-C27A-9E4F-8F97-BE0CF8BEBC9B}"/>
                </a:ext>
              </a:extLst>
            </p:cNvPr>
            <p:cNvSpPr/>
            <p:nvPr/>
          </p:nvSpPr>
          <p:spPr>
            <a:xfrm>
              <a:off x="1371600" y="2971800"/>
              <a:ext cx="6477000" cy="762000"/>
            </a:xfrm>
            <a:prstGeom prst="rect">
              <a:avLst/>
            </a:prstGeom>
            <a:solidFill>
              <a:srgbClr val="7030A0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800" b="1" dirty="0"/>
                <a:t>OS Layer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66D2C72-DD03-3842-8E8A-8F0910EE9FA3}"/>
                </a:ext>
              </a:extLst>
            </p:cNvPr>
            <p:cNvSpPr/>
            <p:nvPr/>
          </p:nvSpPr>
          <p:spPr>
            <a:xfrm>
              <a:off x="1371600" y="2209800"/>
              <a:ext cx="6477000" cy="762000"/>
            </a:xfrm>
            <a:prstGeom prst="rect">
              <a:avLst/>
            </a:prstGeom>
            <a:solidFill>
              <a:srgbClr val="92D050"/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800" b="1" dirty="0"/>
                <a:t>Middleware Layer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66C16D3-35D6-2647-B03A-027E2A03B5AD}"/>
                </a:ext>
              </a:extLst>
            </p:cNvPr>
            <p:cNvSpPr/>
            <p:nvPr/>
          </p:nvSpPr>
          <p:spPr>
            <a:xfrm>
              <a:off x="1371600" y="1447800"/>
              <a:ext cx="6477000" cy="762000"/>
            </a:xfrm>
            <a:prstGeom prst="rect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800" b="1" dirty="0"/>
                <a:t>Application Layer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A54B640-990B-E644-8F65-AAE608F4401D}"/>
                </a:ext>
              </a:extLst>
            </p:cNvPr>
            <p:cNvSpPr/>
            <p:nvPr/>
          </p:nvSpPr>
          <p:spPr>
            <a:xfrm rot="5400000">
              <a:off x="5943600" y="3352800"/>
              <a:ext cx="4572000" cy="762000"/>
            </a:xfrm>
            <a:prstGeom prst="rect">
              <a:avLst/>
            </a:prstGeom>
            <a:solidFill>
              <a:srgbClr val="666666"/>
            </a:solidFill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800" b="1" dirty="0"/>
                <a:t>Security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566A2E5-C356-544A-98BA-719E8B9E72F0}"/>
                </a:ext>
              </a:extLst>
            </p:cNvPr>
            <p:cNvSpPr/>
            <p:nvPr/>
          </p:nvSpPr>
          <p:spPr>
            <a:xfrm rot="5400000">
              <a:off x="-1295400" y="3352800"/>
              <a:ext cx="4572000" cy="7620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800" b="1" dirty="0"/>
                <a:t>Policies, Process &amp; Procedures </a:t>
              </a:r>
            </a:p>
          </p:txBody>
        </p:sp>
        <p:sp>
          <p:nvSpPr>
            <p:cNvPr id="19" name="Down Arrow 18">
              <a:extLst>
                <a:ext uri="{FF2B5EF4-FFF2-40B4-BE49-F238E27FC236}">
                  <a16:creationId xmlns:a16="http://schemas.microsoft.com/office/drawing/2014/main" id="{C00EE487-593F-6B46-927F-756F003DF79C}"/>
                </a:ext>
              </a:extLst>
            </p:cNvPr>
            <p:cNvSpPr/>
            <p:nvPr/>
          </p:nvSpPr>
          <p:spPr bwMode="auto">
            <a:xfrm>
              <a:off x="0" y="1460500"/>
              <a:ext cx="711200" cy="4572000"/>
            </a:xfrm>
            <a:prstGeom prst="downArrow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vert="vert" anchor="ctr"/>
            <a:lstStyle/>
            <a:p>
              <a:pPr algn="ctr">
                <a:defRPr/>
              </a:pPr>
              <a:r>
                <a:rPr lang="en-US" sz="2000" b="1" dirty="0">
                  <a:solidFill>
                    <a:schemeClr val="bg1"/>
                  </a:solidFill>
                </a:rPr>
                <a:t>Design</a:t>
              </a:r>
            </a:p>
          </p:txBody>
        </p:sp>
        <p:sp>
          <p:nvSpPr>
            <p:cNvPr id="20" name="Up Arrow 19">
              <a:extLst>
                <a:ext uri="{FF2B5EF4-FFF2-40B4-BE49-F238E27FC236}">
                  <a16:creationId xmlns:a16="http://schemas.microsoft.com/office/drawing/2014/main" id="{849AB754-D5A9-E64D-80AB-9C3D7CA30DAC}"/>
                </a:ext>
              </a:extLst>
            </p:cNvPr>
            <p:cNvSpPr/>
            <p:nvPr/>
          </p:nvSpPr>
          <p:spPr bwMode="auto">
            <a:xfrm>
              <a:off x="8509000" y="1358900"/>
              <a:ext cx="635000" cy="4622800"/>
            </a:xfrm>
            <a:prstGeom prst="upArrow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vert="vert" anchor="ctr"/>
            <a:lstStyle/>
            <a:p>
              <a:pPr algn="ctr">
                <a:defRPr/>
              </a:pPr>
              <a:r>
                <a:rPr lang="en-US" sz="2000" b="1" dirty="0">
                  <a:solidFill>
                    <a:schemeClr val="bg1"/>
                  </a:solidFill>
                </a:rPr>
                <a:t>Implement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318749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10B4B1-72BE-46E2-9EB0-531FC6886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289" y="120802"/>
            <a:ext cx="11917711" cy="501835"/>
          </a:xfrm>
        </p:spPr>
        <p:txBody>
          <a:bodyPr>
            <a:normAutofit fontScale="90000"/>
          </a:bodyPr>
          <a:lstStyle/>
          <a:p>
            <a:pPr rtl="0" eaLnBrk="1" latinLnBrk="0" hangingPunct="1"/>
            <a:r>
              <a:rPr lang="en-US" sz="4000" dirty="0"/>
              <a:t>Application Resiliency planning used to be Simp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F06EB6-9C56-F24B-9929-4076049AEE12}"/>
              </a:ext>
            </a:extLst>
          </p:cNvPr>
          <p:cNvGrpSpPr/>
          <p:nvPr/>
        </p:nvGrpSpPr>
        <p:grpSpPr>
          <a:xfrm>
            <a:off x="389326" y="844022"/>
            <a:ext cx="11247922" cy="5362814"/>
            <a:chOff x="389326" y="511502"/>
            <a:chExt cx="11247922" cy="5660044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9F6699B-35F4-46AD-95C8-67A22F9CD3B6}"/>
                </a:ext>
              </a:extLst>
            </p:cNvPr>
            <p:cNvSpPr/>
            <p:nvPr/>
          </p:nvSpPr>
          <p:spPr>
            <a:xfrm>
              <a:off x="389326" y="511502"/>
              <a:ext cx="11247922" cy="566004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9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b="1" dirty="0">
                <a:solidFill>
                  <a:srgbClr val="00B0F0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5E18EB3-E03A-4F08-AE24-7BA577E5D71F}"/>
                </a:ext>
              </a:extLst>
            </p:cNvPr>
            <p:cNvSpPr txBox="1"/>
            <p:nvPr/>
          </p:nvSpPr>
          <p:spPr>
            <a:xfrm>
              <a:off x="3156571" y="626157"/>
              <a:ext cx="19279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200" b="1" u="sng" dirty="0">
                  <a:solidFill>
                    <a:schemeClr val="accent1">
                      <a:lumMod val="75000"/>
                    </a:schemeClr>
                  </a:solidFill>
                </a:rPr>
                <a:t>Enterprise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E4383AD-BEB9-407C-A1C3-BFEBBC2C93D9}"/>
                </a:ext>
              </a:extLst>
            </p:cNvPr>
            <p:cNvSpPr txBox="1"/>
            <p:nvPr/>
          </p:nvSpPr>
          <p:spPr>
            <a:xfrm>
              <a:off x="8200846" y="658964"/>
              <a:ext cx="2981778" cy="19389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42900" indent="-342900">
                <a:buFontTx/>
                <a:buChar char="-"/>
              </a:pPr>
              <a:r>
                <a:rPr lang="en-US" sz="2400" b="1" dirty="0"/>
                <a:t>Single Architecture</a:t>
              </a:r>
            </a:p>
            <a:p>
              <a:pPr marL="342900" indent="-342900">
                <a:buFontTx/>
                <a:buChar char="-"/>
              </a:pPr>
              <a:r>
                <a:rPr lang="en-US" sz="2400" b="1" dirty="0"/>
                <a:t>Simple Design</a:t>
              </a:r>
            </a:p>
            <a:p>
              <a:pPr marL="342900" indent="-342900">
                <a:buFontTx/>
                <a:buChar char="-"/>
              </a:pPr>
              <a:r>
                <a:rPr lang="en-US" sz="2400" b="1" dirty="0"/>
                <a:t>Direct Ownership</a:t>
              </a:r>
            </a:p>
            <a:p>
              <a:pPr marL="342900" indent="-342900">
                <a:buFontTx/>
                <a:buChar char="-"/>
              </a:pPr>
              <a:r>
                <a:rPr lang="en-US" sz="2400" b="1" dirty="0"/>
                <a:t>Clear Authority</a:t>
              </a:r>
            </a:p>
            <a:p>
              <a:pPr marL="342900" indent="-342900">
                <a:buFontTx/>
                <a:buChar char="-"/>
              </a:pPr>
              <a:r>
                <a:rPr lang="en-US" sz="2400" b="1" dirty="0"/>
                <a:t>Managed User QoS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67393C0-A628-4A37-AEB7-1B2B209AEF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7462" y="786952"/>
              <a:ext cx="858296" cy="91648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A3B5F93-3D2D-4021-B207-74E8B4F20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63736" y="570778"/>
              <a:ext cx="826340" cy="916486"/>
            </a:xfrm>
            <a:prstGeom prst="rect">
              <a:avLst/>
            </a:prstGeom>
          </p:spPr>
        </p:pic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1776D13-A9CD-4B1E-9C7A-9F8BD7B0DBE3}"/>
                </a:ext>
              </a:extLst>
            </p:cNvPr>
            <p:cNvSpPr/>
            <p:nvPr/>
          </p:nvSpPr>
          <p:spPr>
            <a:xfrm>
              <a:off x="4863774" y="2654278"/>
              <a:ext cx="2299026" cy="2139396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FE932AF6-FC38-4B90-A17C-EB8083235A18}"/>
                </a:ext>
              </a:extLst>
            </p:cNvPr>
            <p:cNvSpPr/>
            <p:nvPr/>
          </p:nvSpPr>
          <p:spPr>
            <a:xfrm>
              <a:off x="1371600" y="1180485"/>
              <a:ext cx="5047862" cy="3065406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2000">
                  <a:srgbClr val="EA95FB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23E470A1-F8BB-4C38-8D64-6C7ABDEE5E49}"/>
                </a:ext>
              </a:extLst>
            </p:cNvPr>
            <p:cNvSpPr/>
            <p:nvPr/>
          </p:nvSpPr>
          <p:spPr>
            <a:xfrm>
              <a:off x="4370978" y="1915300"/>
              <a:ext cx="2299026" cy="2139396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6301F19-43A1-4D3E-A3E6-94411DCD04EA}"/>
                </a:ext>
              </a:extLst>
            </p:cNvPr>
            <p:cNvSpPr txBox="1"/>
            <p:nvPr/>
          </p:nvSpPr>
          <p:spPr>
            <a:xfrm>
              <a:off x="1587837" y="2264008"/>
              <a:ext cx="2126095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Application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5483EBCE-DFD2-4F1E-8EA4-62474905F960}"/>
                </a:ext>
              </a:extLst>
            </p:cNvPr>
            <p:cNvSpPr txBox="1"/>
            <p:nvPr/>
          </p:nvSpPr>
          <p:spPr>
            <a:xfrm>
              <a:off x="5067081" y="2285612"/>
              <a:ext cx="981551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Data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F577048-A131-4570-8B2E-992C25ECDB6D}"/>
                </a:ext>
              </a:extLst>
            </p:cNvPr>
            <p:cNvSpPr txBox="1"/>
            <p:nvPr/>
          </p:nvSpPr>
          <p:spPr>
            <a:xfrm>
              <a:off x="5715150" y="3734012"/>
              <a:ext cx="1175643" cy="954107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2800" b="1" dirty="0"/>
                <a:t> Data </a:t>
              </a:r>
            </a:p>
            <a:p>
              <a:r>
                <a:rPr lang="en-US" sz="2800" b="1" dirty="0"/>
                <a:t>Center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8BC0684-72D1-491B-9F7C-CFF956A305E6}"/>
                </a:ext>
              </a:extLst>
            </p:cNvPr>
            <p:cNvSpPr/>
            <p:nvPr/>
          </p:nvSpPr>
          <p:spPr>
            <a:xfrm>
              <a:off x="3285290" y="2813860"/>
              <a:ext cx="2299026" cy="1916169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C671265-6DF3-4AD6-A872-9045D8C82097}"/>
                </a:ext>
              </a:extLst>
            </p:cNvPr>
            <p:cNvSpPr txBox="1"/>
            <p:nvPr/>
          </p:nvSpPr>
          <p:spPr>
            <a:xfrm>
              <a:off x="3553114" y="3431588"/>
              <a:ext cx="1669240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Network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D002CE7-834E-4495-BD0A-A91CB3849AAA}"/>
                </a:ext>
              </a:extLst>
            </p:cNvPr>
            <p:cNvSpPr/>
            <p:nvPr/>
          </p:nvSpPr>
          <p:spPr>
            <a:xfrm>
              <a:off x="687463" y="678874"/>
              <a:ext cx="6856337" cy="5111555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2863305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val 22">
            <a:extLst>
              <a:ext uri="{FF2B5EF4-FFF2-40B4-BE49-F238E27FC236}">
                <a16:creationId xmlns:a16="http://schemas.microsoft.com/office/drawing/2014/main" id="{718AAE8A-512D-4EFE-86C4-66FFEF05D9E2}"/>
              </a:ext>
            </a:extLst>
          </p:cNvPr>
          <p:cNvSpPr/>
          <p:nvPr/>
        </p:nvSpPr>
        <p:spPr>
          <a:xfrm rot="1585778">
            <a:off x="3684258" y="3215748"/>
            <a:ext cx="8048067" cy="1900971"/>
          </a:xfrm>
          <a:prstGeom prst="ellipse">
            <a:avLst/>
          </a:prstGeom>
          <a:noFill/>
          <a:ln w="28575">
            <a:solidFill>
              <a:srgbClr val="D23AE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E70234B-9948-8E4E-8889-DA4C59BF55CC}"/>
              </a:ext>
            </a:extLst>
          </p:cNvPr>
          <p:cNvGrpSpPr/>
          <p:nvPr/>
        </p:nvGrpSpPr>
        <p:grpSpPr>
          <a:xfrm>
            <a:off x="486308" y="885574"/>
            <a:ext cx="11561731" cy="5445953"/>
            <a:chOff x="389326" y="442228"/>
            <a:chExt cx="11561731" cy="5808733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9F6699B-35F4-46AD-95C8-67A22F9CD3B6}"/>
                </a:ext>
              </a:extLst>
            </p:cNvPr>
            <p:cNvSpPr/>
            <p:nvPr/>
          </p:nvSpPr>
          <p:spPr>
            <a:xfrm>
              <a:off x="389326" y="442228"/>
              <a:ext cx="11247922" cy="566004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9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b="1" dirty="0">
                <a:solidFill>
                  <a:srgbClr val="00B0F0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5E18EB3-E03A-4F08-AE24-7BA577E5D71F}"/>
                </a:ext>
              </a:extLst>
            </p:cNvPr>
            <p:cNvSpPr txBox="1"/>
            <p:nvPr/>
          </p:nvSpPr>
          <p:spPr>
            <a:xfrm>
              <a:off x="3156571" y="556883"/>
              <a:ext cx="19279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200" b="1" u="sng" dirty="0">
                  <a:solidFill>
                    <a:schemeClr val="accent1">
                      <a:lumMod val="75000"/>
                    </a:schemeClr>
                  </a:solidFill>
                </a:rPr>
                <a:t>Enterprise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67393C0-A628-4A37-AEB7-1B2B209AEF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7462" y="717678"/>
              <a:ext cx="858296" cy="91648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A3B5F93-3D2D-4021-B207-74E8B4F20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63736" y="501504"/>
              <a:ext cx="826340" cy="916486"/>
            </a:xfrm>
            <a:prstGeom prst="rect">
              <a:avLst/>
            </a:prstGeom>
          </p:spPr>
        </p:pic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1776D13-A9CD-4B1E-9C7A-9F8BD7B0DBE3}"/>
                </a:ext>
              </a:extLst>
            </p:cNvPr>
            <p:cNvSpPr/>
            <p:nvPr/>
          </p:nvSpPr>
          <p:spPr>
            <a:xfrm>
              <a:off x="4863773" y="2585003"/>
              <a:ext cx="4764641" cy="2268979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FE932AF6-FC38-4B90-A17C-EB8083235A18}"/>
                </a:ext>
              </a:extLst>
            </p:cNvPr>
            <p:cNvSpPr/>
            <p:nvPr/>
          </p:nvSpPr>
          <p:spPr>
            <a:xfrm>
              <a:off x="1371600" y="1111210"/>
              <a:ext cx="7171126" cy="3742771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2000">
                  <a:srgbClr val="EA95FB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23E470A1-F8BB-4C38-8D64-6C7ABDEE5E49}"/>
                </a:ext>
              </a:extLst>
            </p:cNvPr>
            <p:cNvSpPr/>
            <p:nvPr/>
          </p:nvSpPr>
          <p:spPr>
            <a:xfrm>
              <a:off x="4370978" y="1846025"/>
              <a:ext cx="4507212" cy="3875130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6301F19-43A1-4D3E-A3E6-94411DCD04EA}"/>
                </a:ext>
              </a:extLst>
            </p:cNvPr>
            <p:cNvSpPr txBox="1"/>
            <p:nvPr/>
          </p:nvSpPr>
          <p:spPr>
            <a:xfrm>
              <a:off x="1587837" y="2194734"/>
              <a:ext cx="2126095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Application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5483EBCE-DFD2-4F1E-8EA4-62474905F960}"/>
                </a:ext>
              </a:extLst>
            </p:cNvPr>
            <p:cNvSpPr txBox="1"/>
            <p:nvPr/>
          </p:nvSpPr>
          <p:spPr>
            <a:xfrm>
              <a:off x="7151802" y="2303509"/>
              <a:ext cx="981551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Data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F577048-A131-4570-8B2E-992C25ECDB6D}"/>
                </a:ext>
              </a:extLst>
            </p:cNvPr>
            <p:cNvSpPr txBox="1"/>
            <p:nvPr/>
          </p:nvSpPr>
          <p:spPr>
            <a:xfrm>
              <a:off x="8442725" y="3166753"/>
              <a:ext cx="1175643" cy="954107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2800" b="1" dirty="0"/>
                <a:t> Data </a:t>
              </a:r>
            </a:p>
            <a:p>
              <a:r>
                <a:rPr lang="en-US" sz="2800" b="1" dirty="0"/>
                <a:t>Center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8BC0684-72D1-491B-9F7C-CFF956A305E6}"/>
                </a:ext>
              </a:extLst>
            </p:cNvPr>
            <p:cNvSpPr/>
            <p:nvPr/>
          </p:nvSpPr>
          <p:spPr>
            <a:xfrm>
              <a:off x="3285289" y="2744586"/>
              <a:ext cx="5059883" cy="2328896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C671265-6DF3-4AD6-A872-9045D8C82097}"/>
                </a:ext>
              </a:extLst>
            </p:cNvPr>
            <p:cNvSpPr txBox="1"/>
            <p:nvPr/>
          </p:nvSpPr>
          <p:spPr>
            <a:xfrm>
              <a:off x="4294436" y="4071723"/>
              <a:ext cx="1669240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Network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1973EF6-5DF1-4B12-A9A8-1FDE6DFF7CBA}"/>
                </a:ext>
              </a:extLst>
            </p:cNvPr>
            <p:cNvSpPr/>
            <p:nvPr/>
          </p:nvSpPr>
          <p:spPr>
            <a:xfrm rot="257775">
              <a:off x="3835110" y="2272535"/>
              <a:ext cx="7851017" cy="1949695"/>
            </a:xfrm>
            <a:prstGeom prst="ellipse">
              <a:avLst/>
            </a:prstGeom>
            <a:noFill/>
            <a:ln w="28575">
              <a:solidFill>
                <a:srgbClr val="7030A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DA3CC02-A062-4B76-9E0C-890D604EF450}"/>
                </a:ext>
              </a:extLst>
            </p:cNvPr>
            <p:cNvSpPr txBox="1"/>
            <p:nvPr/>
          </p:nvSpPr>
          <p:spPr>
            <a:xfrm>
              <a:off x="10041035" y="3240181"/>
              <a:ext cx="19100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sng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/Edge</a:t>
              </a:r>
              <a:endParaRPr kumimoji="0" lang="en-US" sz="3200" b="1" i="0" u="sng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D002CE7-834E-4495-BD0A-A91CB3849AAA}"/>
                </a:ext>
              </a:extLst>
            </p:cNvPr>
            <p:cNvSpPr/>
            <p:nvPr/>
          </p:nvSpPr>
          <p:spPr>
            <a:xfrm>
              <a:off x="687463" y="609600"/>
              <a:ext cx="6856337" cy="5111555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9CC8417-86BC-4A08-B4A2-053D38D5D9C1}"/>
                </a:ext>
              </a:extLst>
            </p:cNvPr>
            <p:cNvSpPr txBox="1"/>
            <p:nvPr/>
          </p:nvSpPr>
          <p:spPr>
            <a:xfrm>
              <a:off x="9866809" y="5296854"/>
              <a:ext cx="1571040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sng" strike="noStrike" kern="1200" cap="none" spc="0" normalizeH="0" baseline="0" noProof="0" dirty="0">
                  <a:ln>
                    <a:noFill/>
                  </a:ln>
                  <a:solidFill>
                    <a:srgbClr val="D23AE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loud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BB4A5EF-C03B-4489-8CA8-B1E724CFB7E7}"/>
                </a:ext>
              </a:extLst>
            </p:cNvPr>
            <p:cNvSpPr txBox="1"/>
            <p:nvPr/>
          </p:nvSpPr>
          <p:spPr>
            <a:xfrm>
              <a:off x="8712128" y="582960"/>
              <a:ext cx="2956990" cy="1739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2000" b="1" dirty="0"/>
                <a:t>Application expansion into Colocation and Edge locations or &amp; 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Application functionality migrating to and written for  Cloud…</a:t>
              </a:r>
            </a:p>
          </p:txBody>
        </p:sp>
      </p:grpSp>
      <p:sp>
        <p:nvSpPr>
          <p:cNvPr id="26" name="Title 1">
            <a:extLst>
              <a:ext uri="{FF2B5EF4-FFF2-40B4-BE49-F238E27FC236}">
                <a16:creationId xmlns:a16="http://schemas.microsoft.com/office/drawing/2014/main" id="{65097BBD-4A57-CF4D-85CC-918811B09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289" y="120802"/>
            <a:ext cx="11917711" cy="501835"/>
          </a:xfrm>
        </p:spPr>
        <p:txBody>
          <a:bodyPr>
            <a:normAutofit fontScale="90000"/>
          </a:bodyPr>
          <a:lstStyle/>
          <a:p>
            <a:pPr rtl="0" eaLnBrk="1" latinLnBrk="0" hangingPunct="1"/>
            <a:r>
              <a:rPr lang="en-US" sz="4000" dirty="0"/>
              <a:t>Application Resiliency planning used to be Simple</a:t>
            </a:r>
          </a:p>
        </p:txBody>
      </p:sp>
    </p:spTree>
    <p:extLst>
      <p:ext uri="{BB962C8B-B14F-4D97-AF65-F5344CB8AC3E}">
        <p14:creationId xmlns:p14="http://schemas.microsoft.com/office/powerpoint/2010/main" val="26922526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val 22">
            <a:extLst>
              <a:ext uri="{FF2B5EF4-FFF2-40B4-BE49-F238E27FC236}">
                <a16:creationId xmlns:a16="http://schemas.microsoft.com/office/drawing/2014/main" id="{718AAE8A-512D-4EFE-86C4-66FFEF05D9E2}"/>
              </a:ext>
            </a:extLst>
          </p:cNvPr>
          <p:cNvSpPr/>
          <p:nvPr/>
        </p:nvSpPr>
        <p:spPr>
          <a:xfrm rot="1585778">
            <a:off x="3684258" y="3215748"/>
            <a:ext cx="8048067" cy="1900971"/>
          </a:xfrm>
          <a:prstGeom prst="ellipse">
            <a:avLst/>
          </a:prstGeom>
          <a:noFill/>
          <a:ln w="28575">
            <a:solidFill>
              <a:srgbClr val="D23AE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C3D8871-1C64-E34E-A569-C5222364E181}"/>
              </a:ext>
            </a:extLst>
          </p:cNvPr>
          <p:cNvGrpSpPr/>
          <p:nvPr/>
        </p:nvGrpSpPr>
        <p:grpSpPr>
          <a:xfrm>
            <a:off x="403181" y="999734"/>
            <a:ext cx="11561731" cy="5387211"/>
            <a:chOff x="389326" y="442228"/>
            <a:chExt cx="11561731" cy="5808733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9F6699B-35F4-46AD-95C8-67A22F9CD3B6}"/>
                </a:ext>
              </a:extLst>
            </p:cNvPr>
            <p:cNvSpPr/>
            <p:nvPr/>
          </p:nvSpPr>
          <p:spPr>
            <a:xfrm>
              <a:off x="389326" y="442228"/>
              <a:ext cx="11247922" cy="566004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9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b="1" dirty="0">
                <a:solidFill>
                  <a:srgbClr val="00B0F0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5E18EB3-E03A-4F08-AE24-7BA577E5D71F}"/>
                </a:ext>
              </a:extLst>
            </p:cNvPr>
            <p:cNvSpPr txBox="1"/>
            <p:nvPr/>
          </p:nvSpPr>
          <p:spPr>
            <a:xfrm>
              <a:off x="3156571" y="556883"/>
              <a:ext cx="19279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200" b="1" u="sng" dirty="0">
                  <a:solidFill>
                    <a:schemeClr val="accent1">
                      <a:lumMod val="75000"/>
                    </a:schemeClr>
                  </a:solidFill>
                </a:rPr>
                <a:t>Enterprise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67393C0-A628-4A37-AEB7-1B2B209AEF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7462" y="717678"/>
              <a:ext cx="858296" cy="91648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A3B5F93-3D2D-4021-B207-74E8B4F20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63736" y="501504"/>
              <a:ext cx="826340" cy="916486"/>
            </a:xfrm>
            <a:prstGeom prst="rect">
              <a:avLst/>
            </a:prstGeom>
          </p:spPr>
        </p:pic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1776D13-A9CD-4B1E-9C7A-9F8BD7B0DBE3}"/>
                </a:ext>
              </a:extLst>
            </p:cNvPr>
            <p:cNvSpPr/>
            <p:nvPr/>
          </p:nvSpPr>
          <p:spPr>
            <a:xfrm>
              <a:off x="4863773" y="2585003"/>
              <a:ext cx="4764641" cy="2268979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FE932AF6-FC38-4B90-A17C-EB8083235A18}"/>
                </a:ext>
              </a:extLst>
            </p:cNvPr>
            <p:cNvSpPr/>
            <p:nvPr/>
          </p:nvSpPr>
          <p:spPr>
            <a:xfrm>
              <a:off x="1371600" y="1111210"/>
              <a:ext cx="7171126" cy="3742771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2000">
                  <a:srgbClr val="EA95FB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23E470A1-F8BB-4C38-8D64-6C7ABDEE5E49}"/>
                </a:ext>
              </a:extLst>
            </p:cNvPr>
            <p:cNvSpPr/>
            <p:nvPr/>
          </p:nvSpPr>
          <p:spPr>
            <a:xfrm>
              <a:off x="4370978" y="1846025"/>
              <a:ext cx="4507212" cy="3875130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6301F19-43A1-4D3E-A3E6-94411DCD04EA}"/>
                </a:ext>
              </a:extLst>
            </p:cNvPr>
            <p:cNvSpPr txBox="1"/>
            <p:nvPr/>
          </p:nvSpPr>
          <p:spPr>
            <a:xfrm>
              <a:off x="1587837" y="2194734"/>
              <a:ext cx="2126095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Application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5483EBCE-DFD2-4F1E-8EA4-62474905F960}"/>
                </a:ext>
              </a:extLst>
            </p:cNvPr>
            <p:cNvSpPr txBox="1"/>
            <p:nvPr/>
          </p:nvSpPr>
          <p:spPr>
            <a:xfrm>
              <a:off x="5378490" y="1507854"/>
              <a:ext cx="981551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Data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F577048-A131-4570-8B2E-992C25ECDB6D}"/>
                </a:ext>
              </a:extLst>
            </p:cNvPr>
            <p:cNvSpPr txBox="1"/>
            <p:nvPr/>
          </p:nvSpPr>
          <p:spPr>
            <a:xfrm>
              <a:off x="8899920" y="2614438"/>
              <a:ext cx="1175643" cy="954107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2800" b="1" dirty="0"/>
                <a:t> Data </a:t>
              </a:r>
            </a:p>
            <a:p>
              <a:r>
                <a:rPr lang="en-US" sz="2800" b="1" dirty="0"/>
                <a:t>Center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8BC0684-72D1-491B-9F7C-CFF956A305E6}"/>
                </a:ext>
              </a:extLst>
            </p:cNvPr>
            <p:cNvSpPr/>
            <p:nvPr/>
          </p:nvSpPr>
          <p:spPr>
            <a:xfrm>
              <a:off x="3285289" y="2744586"/>
              <a:ext cx="5059883" cy="2328896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C671265-6DF3-4AD6-A872-9045D8C82097}"/>
                </a:ext>
              </a:extLst>
            </p:cNvPr>
            <p:cNvSpPr txBox="1"/>
            <p:nvPr/>
          </p:nvSpPr>
          <p:spPr>
            <a:xfrm>
              <a:off x="4850447" y="4391386"/>
              <a:ext cx="1669240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Network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1973EF6-5DF1-4B12-A9A8-1FDE6DFF7CBA}"/>
                </a:ext>
              </a:extLst>
            </p:cNvPr>
            <p:cNvSpPr/>
            <p:nvPr/>
          </p:nvSpPr>
          <p:spPr>
            <a:xfrm rot="257775">
              <a:off x="3835110" y="2272535"/>
              <a:ext cx="7851017" cy="1949695"/>
            </a:xfrm>
            <a:prstGeom prst="ellipse">
              <a:avLst/>
            </a:prstGeom>
            <a:noFill/>
            <a:ln w="28575">
              <a:solidFill>
                <a:srgbClr val="7030A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DA3CC02-A062-4B76-9E0C-890D604EF450}"/>
                </a:ext>
              </a:extLst>
            </p:cNvPr>
            <p:cNvSpPr txBox="1"/>
            <p:nvPr/>
          </p:nvSpPr>
          <p:spPr>
            <a:xfrm>
              <a:off x="10041035" y="3240181"/>
              <a:ext cx="19100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sng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/Edge</a:t>
              </a:r>
              <a:endParaRPr kumimoji="0" lang="en-US" sz="3200" b="1" i="0" u="sng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D002CE7-834E-4495-BD0A-A91CB3849AAA}"/>
                </a:ext>
              </a:extLst>
            </p:cNvPr>
            <p:cNvSpPr/>
            <p:nvPr/>
          </p:nvSpPr>
          <p:spPr>
            <a:xfrm>
              <a:off x="687463" y="609600"/>
              <a:ext cx="6856337" cy="5111555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9CC8417-86BC-4A08-B4A2-053D38D5D9C1}"/>
                </a:ext>
              </a:extLst>
            </p:cNvPr>
            <p:cNvSpPr txBox="1"/>
            <p:nvPr/>
          </p:nvSpPr>
          <p:spPr>
            <a:xfrm>
              <a:off x="9866809" y="5296854"/>
              <a:ext cx="1571040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sng" strike="noStrike" kern="1200" cap="none" spc="0" normalizeH="0" baseline="0" noProof="0" dirty="0">
                  <a:ln>
                    <a:noFill/>
                  </a:ln>
                  <a:solidFill>
                    <a:srgbClr val="D23AE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loud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BB4A5EF-C03B-4489-8CA8-B1E724CFB7E7}"/>
                </a:ext>
              </a:extLst>
            </p:cNvPr>
            <p:cNvSpPr txBox="1"/>
            <p:nvPr/>
          </p:nvSpPr>
          <p:spPr>
            <a:xfrm>
              <a:off x="8446311" y="620778"/>
              <a:ext cx="3145625" cy="17851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lvl="0" indent="-342900">
                <a:buFont typeface="Wingdings" panose="05000000000000000000" pitchFamily="2" charset="2"/>
                <a:buChar char="§"/>
                <a:defRPr/>
              </a:pPr>
              <a:r>
                <a:rPr lang="en-US" sz="2200" b="1" dirty="0"/>
                <a:t>Multiple Architecture</a:t>
              </a:r>
            </a:p>
            <a:p>
              <a:pPr marL="342900" lvl="0" indent="-342900">
                <a:buFont typeface="Wingdings" panose="05000000000000000000" pitchFamily="2" charset="2"/>
                <a:buChar char="§"/>
                <a:defRPr/>
              </a:pPr>
              <a:r>
                <a:rPr lang="en-US" sz="2200" b="1" dirty="0"/>
                <a:t>Complex Design</a:t>
              </a:r>
            </a:p>
            <a:p>
              <a:pPr marL="342900" lvl="0" indent="-342900">
                <a:buFont typeface="Wingdings" panose="05000000000000000000" pitchFamily="2" charset="2"/>
                <a:buChar char="§"/>
                <a:defRPr/>
              </a:pPr>
              <a:r>
                <a:rPr lang="en-US" sz="2200" b="1" dirty="0"/>
                <a:t>Indirect Ownership</a:t>
              </a:r>
            </a:p>
            <a:p>
              <a:pPr marL="342900" lvl="0" indent="-342900">
                <a:buFont typeface="Wingdings" panose="05000000000000000000" pitchFamily="2" charset="2"/>
                <a:buChar char="§"/>
                <a:defRPr/>
              </a:pPr>
              <a:r>
                <a:rPr lang="en-US" sz="2200" b="1" dirty="0"/>
                <a:t>Delegated Authority</a:t>
              </a:r>
            </a:p>
            <a:p>
              <a:pPr marL="342900" lvl="0" indent="-342900">
                <a:buFont typeface="Wingdings" panose="05000000000000000000" pitchFamily="2" charset="2"/>
                <a:buChar char="§"/>
                <a:defRPr/>
              </a:pPr>
              <a:r>
                <a:rPr lang="en-US" sz="2200" b="1" dirty="0"/>
                <a:t>Tracked User QoS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A17BB9B-F3D6-4748-9148-6D7582812789}"/>
                </a:ext>
              </a:extLst>
            </p:cNvPr>
            <p:cNvSpPr txBox="1"/>
            <p:nvPr/>
          </p:nvSpPr>
          <p:spPr>
            <a:xfrm rot="20881820">
              <a:off x="938276" y="2532294"/>
              <a:ext cx="7653620" cy="1877437"/>
            </a:xfrm>
            <a:prstGeom prst="rect">
              <a:avLst/>
            </a:prstGeom>
            <a:solidFill>
              <a:schemeClr val="tx1"/>
            </a:solidFill>
            <a:ln w="82550">
              <a:solidFill>
                <a:schemeClr val="tx1">
                  <a:lumMod val="95000"/>
                  <a:lumOff val="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marR="0" lvl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3600" b="1" i="1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siliency Success means providing availability across this diverse and complex environment </a:t>
              </a:r>
              <a:r>
                <a:rPr kumimoji="0" lang="en-US" sz="4400" b="1" i="1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…</a:t>
              </a:r>
            </a:p>
          </p:txBody>
        </p: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03C3420D-8505-8540-A70D-D2A30923D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289" y="120802"/>
            <a:ext cx="11917711" cy="501835"/>
          </a:xfrm>
        </p:spPr>
        <p:txBody>
          <a:bodyPr>
            <a:normAutofit fontScale="90000"/>
          </a:bodyPr>
          <a:lstStyle/>
          <a:p>
            <a:pPr rtl="0" eaLnBrk="1" latinLnBrk="0" hangingPunct="1"/>
            <a:r>
              <a:rPr lang="en-US" sz="4000" dirty="0"/>
              <a:t>Application Resiliency planning used to be Simple</a:t>
            </a:r>
          </a:p>
        </p:txBody>
      </p:sp>
    </p:spTree>
    <p:extLst>
      <p:ext uri="{BB962C8B-B14F-4D97-AF65-F5344CB8AC3E}">
        <p14:creationId xmlns:p14="http://schemas.microsoft.com/office/powerpoint/2010/main" val="29591477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83FE6B-4723-44AD-A061-E2B9C1136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661" y="1295400"/>
            <a:ext cx="4697741" cy="3129382"/>
          </a:xfrm>
        </p:spPr>
        <p:txBody>
          <a:bodyPr>
            <a:normAutofit fontScale="90000"/>
          </a:bodyPr>
          <a:lstStyle/>
          <a:p>
            <a:r>
              <a:rPr lang="en-US" sz="4800" b="0" u="sng" dirty="0">
                <a:solidFill>
                  <a:schemeClr val="tx1"/>
                </a:solidFill>
              </a:rPr>
              <a:t>Outages Make the Headline  News and have REAL </a:t>
            </a:r>
            <a:r>
              <a:rPr lang="en-US" sz="4800" b="0" dirty="0">
                <a:solidFill>
                  <a:schemeClr val="tx1"/>
                </a:solidFill>
              </a:rPr>
              <a:t>costs and sometimes generate lawsuits…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D87C71C-3CE1-4E34-9241-13DCC76A94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7253" y="3733800"/>
            <a:ext cx="1946789" cy="1095069"/>
          </a:xfrm>
          <a:prstGeom prst="rect">
            <a:avLst/>
          </a:prstGeom>
        </p:spPr>
      </p:pic>
      <p:pic>
        <p:nvPicPr>
          <p:cNvPr id="1026" name="Picture 2" descr="Image result for financial times">
            <a:extLst>
              <a:ext uri="{FF2B5EF4-FFF2-40B4-BE49-F238E27FC236}">
                <a16:creationId xmlns:a16="http://schemas.microsoft.com/office/drawing/2014/main" id="{086AF1AB-985B-49D7-A0FD-5F303E06C4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0944" y="1013008"/>
            <a:ext cx="2656846" cy="1495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 descr="A screenshot of a cell phone&#10;&#10;Description automatically generated">
            <a:extLst>
              <a:ext uri="{FF2B5EF4-FFF2-40B4-BE49-F238E27FC236}">
                <a16:creationId xmlns:a16="http://schemas.microsoft.com/office/drawing/2014/main" id="{16F8DF35-7D45-4D57-9E12-2B3DE5F39B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600" y="990600"/>
            <a:ext cx="3596952" cy="321287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0C808E5-BEB3-4202-B597-9955954138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83251" y="2930694"/>
            <a:ext cx="1419096" cy="1890712"/>
          </a:xfrm>
          <a:prstGeom prst="rect">
            <a:avLst/>
          </a:prstGeom>
        </p:spPr>
      </p:pic>
      <p:pic>
        <p:nvPicPr>
          <p:cNvPr id="16" name="Picture 15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0F92D1CA-2AB6-49C5-B23A-6E79461519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945" y="2696101"/>
            <a:ext cx="3767655" cy="211986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D0EFEA6-50D8-49EC-952E-D2D1602767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59122" y="1632948"/>
            <a:ext cx="3436727" cy="164365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374E919-89DA-4374-BA3F-7151CAE1EBB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3574" t="468745" r="21639" b="-532219"/>
          <a:stretch/>
        </p:blipFill>
        <p:spPr>
          <a:xfrm rot="5400000">
            <a:off x="7398276" y="4184125"/>
            <a:ext cx="2057398" cy="851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201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B0E626-2655-4AE5-95ED-980D40538914}" type="slidenum">
              <a:rPr lang="en-US" altLang="en-US" smtClean="0"/>
              <a:pPr/>
              <a:t>8</a:t>
            </a:fld>
            <a:endParaRPr lang="en-US" alt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B9C0080-4CF7-7447-B55C-7E90B28979FC}"/>
              </a:ext>
            </a:extLst>
          </p:cNvPr>
          <p:cNvSpPr txBox="1">
            <a:spLocks/>
          </p:cNvSpPr>
          <p:nvPr/>
        </p:nvSpPr>
        <p:spPr>
          <a:xfrm>
            <a:off x="702156" y="273724"/>
            <a:ext cx="10515600" cy="6437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733" b="0" i="0" kern="1200">
                <a:solidFill>
                  <a:srgbClr val="005DA6"/>
                </a:solidFill>
                <a:latin typeface="Roboto Bold"/>
                <a:ea typeface="+mj-ea"/>
                <a:cs typeface="Roboto Bold"/>
              </a:defRPr>
            </a:lvl1pPr>
          </a:lstStyle>
          <a:p>
            <a:r>
              <a:rPr lang="en-US" sz="3700" dirty="0"/>
              <a:t>Outages are Common &amp; Rampant</a:t>
            </a:r>
          </a:p>
        </p:txBody>
      </p:sp>
      <p:pic>
        <p:nvPicPr>
          <p:cNvPr id="3" name="Picture 2" descr="A picture containing accessory&#10;&#10;Description generated with very high confidence">
            <a:extLst>
              <a:ext uri="{FF2B5EF4-FFF2-40B4-BE49-F238E27FC236}">
                <a16:creationId xmlns:a16="http://schemas.microsoft.com/office/drawing/2014/main" id="{AED0111F-D7F1-4552-8D59-D330F8B1B3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901634"/>
            <a:ext cx="5618081" cy="399777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5431418-9F5E-488B-8108-00AE4B23E74D}"/>
              </a:ext>
            </a:extLst>
          </p:cNvPr>
          <p:cNvSpPr txBox="1">
            <a:spLocks/>
          </p:cNvSpPr>
          <p:nvPr/>
        </p:nvSpPr>
        <p:spPr>
          <a:xfrm>
            <a:off x="196503" y="4927207"/>
            <a:ext cx="6142703" cy="11418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Roboto Regular"/>
                <a:ea typeface="+mn-ea"/>
                <a:cs typeface="Roboto Regular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›"/>
              <a:defRPr sz="24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▪"/>
              <a:defRPr sz="20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&gt;"/>
              <a:defRPr sz="18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‒"/>
              <a:defRPr sz="18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US" sz="1600" dirty="0">
                <a:solidFill>
                  <a:srgbClr val="57595B"/>
                </a:solidFill>
                <a:latin typeface="+mn-lt"/>
                <a:cs typeface="+mn-cs"/>
              </a:rPr>
              <a:t>Cloud/internet giants not immune to failure….</a:t>
            </a:r>
          </a:p>
          <a:p>
            <a:pPr defTabSz="457200"/>
            <a:r>
              <a:rPr lang="en-US" sz="1600" dirty="0">
                <a:solidFill>
                  <a:srgbClr val="57595B"/>
                </a:solidFill>
                <a:latin typeface="+mn-lt"/>
                <a:cs typeface="+mn-cs"/>
              </a:rPr>
              <a:t>Professional service providers account for most reported outages</a:t>
            </a:r>
          </a:p>
          <a:p>
            <a:pPr defTabSz="457200"/>
            <a:r>
              <a:rPr lang="en-US" sz="1600" dirty="0">
                <a:solidFill>
                  <a:srgbClr val="57595B"/>
                </a:solidFill>
                <a:latin typeface="+mn-lt"/>
                <a:cs typeface="+mn-cs"/>
              </a:rPr>
              <a:t>Finance and airlines disproportionately disrupted by IT failures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7D7B6D-ACCA-BB4D-AF75-F792520A521B}"/>
              </a:ext>
            </a:extLst>
          </p:cNvPr>
          <p:cNvSpPr txBox="1"/>
          <p:nvPr/>
        </p:nvSpPr>
        <p:spPr>
          <a:xfrm>
            <a:off x="0" y="6096814"/>
            <a:ext cx="65357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rgbClr val="57595B"/>
                </a:solidFill>
                <a:latin typeface="Roboto" charset="0"/>
                <a:ea typeface="Roboto" charset="0"/>
                <a:cs typeface="Roboto" charset="0"/>
              </a:rPr>
              <a:t>Source: Various online news sources, Uptime Institute Research, January 2019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9A048D3-2CC7-4649-B31C-9B2226E3A4A6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3267854" y="779420"/>
          <a:ext cx="8240396" cy="5204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9382E40-AEB4-A84C-99C3-1BCA0E383D72}"/>
              </a:ext>
            </a:extLst>
          </p:cNvPr>
          <p:cNvSpPr txBox="1">
            <a:spLocks/>
          </p:cNvSpPr>
          <p:nvPr/>
        </p:nvSpPr>
        <p:spPr>
          <a:xfrm>
            <a:off x="8832585" y="4572000"/>
            <a:ext cx="3359419" cy="1801813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Roboto Regular"/>
                <a:ea typeface="+mn-ea"/>
                <a:cs typeface="Roboto Regular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›"/>
              <a:defRPr sz="24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▪"/>
              <a:defRPr sz="20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&gt;"/>
              <a:defRPr sz="18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‒"/>
              <a:defRPr sz="18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57595B"/>
                </a:solidFill>
                <a:latin typeface="+mn-lt"/>
              </a:rPr>
              <a:t>Network and IT now outstrip power as the primary cause of publicly recorded outages</a:t>
            </a:r>
          </a:p>
          <a:p>
            <a:r>
              <a:rPr lang="en-US" sz="1600" dirty="0">
                <a:solidFill>
                  <a:srgbClr val="57595B"/>
                </a:solidFill>
                <a:latin typeface="+mn-lt"/>
              </a:rPr>
              <a:t>Facilities causes, together, still account for the most reported outages (32%)</a:t>
            </a:r>
          </a:p>
          <a:p>
            <a:r>
              <a:rPr lang="en-US" sz="1600" dirty="0">
                <a:solidFill>
                  <a:srgbClr val="57595B"/>
                </a:solidFill>
                <a:latin typeface="+mn-lt"/>
              </a:rPr>
              <a:t>Fire and fire suppression problems account for 7% of outages</a:t>
            </a:r>
          </a:p>
        </p:txBody>
      </p:sp>
    </p:spTree>
    <p:extLst>
      <p:ext uri="{BB962C8B-B14F-4D97-AF65-F5344CB8AC3E}">
        <p14:creationId xmlns:p14="http://schemas.microsoft.com/office/powerpoint/2010/main" val="28923859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/>
          <p:cNvSpPr txBox="1">
            <a:spLocks/>
          </p:cNvSpPr>
          <p:nvPr/>
        </p:nvSpPr>
        <p:spPr>
          <a:xfrm>
            <a:off x="1020635" y="407354"/>
            <a:ext cx="8229600" cy="423205"/>
          </a:xfrm>
          <a:prstGeom prst="rect">
            <a:avLst/>
          </a:prstGeom>
        </p:spPr>
        <p:txBody>
          <a:bodyPr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i="0" kern="1200">
                <a:solidFill>
                  <a:srgbClr val="8C0E1D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4000" b="0" dirty="0">
                <a:solidFill>
                  <a:srgbClr val="005DA6"/>
                </a:solidFill>
                <a:latin typeface="Roboto Bold"/>
              </a:rPr>
              <a:t>Key Success Factor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28BE2-E43F-FF40-87E8-462BDCE5F25E}"/>
              </a:ext>
            </a:extLst>
          </p:cNvPr>
          <p:cNvGrpSpPr/>
          <p:nvPr/>
        </p:nvGrpSpPr>
        <p:grpSpPr>
          <a:xfrm>
            <a:off x="1020635" y="1002814"/>
            <a:ext cx="10539019" cy="4643243"/>
            <a:chOff x="1535374" y="1002814"/>
            <a:chExt cx="9341892" cy="5190665"/>
          </a:xfrm>
        </p:grpSpPr>
        <p:graphicFrame>
          <p:nvGraphicFramePr>
            <p:cNvPr id="10" name="Diagram 9">
              <a:extLst>
                <a:ext uri="{FF2B5EF4-FFF2-40B4-BE49-F238E27FC236}">
                  <a16:creationId xmlns:a16="http://schemas.microsoft.com/office/drawing/2014/main" id="{D08332EE-3546-A94D-8E79-F0A92D1587CE}"/>
                </a:ext>
              </a:extLst>
            </p:cNvPr>
            <p:cNvGraphicFramePr/>
            <p:nvPr>
              <p:extLst/>
            </p:nvPr>
          </p:nvGraphicFramePr>
          <p:xfrm>
            <a:off x="1542197" y="2975213"/>
            <a:ext cx="9335069" cy="321826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F9DC720-7674-544A-9487-29B18D0A237A}"/>
                </a:ext>
              </a:extLst>
            </p:cNvPr>
            <p:cNvSpPr txBox="1"/>
            <p:nvPr/>
          </p:nvSpPr>
          <p:spPr>
            <a:xfrm>
              <a:off x="1535374" y="3915606"/>
              <a:ext cx="2210937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Numb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Qualifica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Experienc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Skill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4951C1B-AC23-C545-9A03-C26281F348A7}"/>
                </a:ext>
              </a:extLst>
            </p:cNvPr>
            <p:cNvSpPr txBox="1"/>
            <p:nvPr/>
          </p:nvSpPr>
          <p:spPr>
            <a:xfrm>
              <a:off x="3923731" y="3915605"/>
              <a:ext cx="2210937" cy="2062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Project Process</a:t>
              </a:r>
              <a:endParaRPr lang="en-US" sz="1200" b="1" dirty="0">
                <a:solidFill>
                  <a:schemeClr val="bg1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bg1"/>
                  </a:solidFill>
                </a:rPr>
                <a:t>Plan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bg1"/>
                  </a:solidFill>
                </a:rPr>
                <a:t>Milestones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bg1"/>
                  </a:solidFill>
                </a:rPr>
                <a:t>Deliverabl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Operational Process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bg1"/>
                  </a:solidFill>
                </a:rPr>
                <a:t>SOP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bg1"/>
                  </a:solidFill>
                </a:rPr>
                <a:t>EOP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bg1"/>
                  </a:solidFill>
                </a:rPr>
                <a:t>MOP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bg1"/>
                  </a:solidFill>
                </a:rPr>
                <a:t>KPI 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bg1"/>
                  </a:solidFill>
                </a:rPr>
                <a:t>SLA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C903EF87-76AC-FD40-BA25-1BCA0F3CF4A9}"/>
                </a:ext>
              </a:extLst>
            </p:cNvPr>
            <p:cNvSpPr txBox="1"/>
            <p:nvPr/>
          </p:nvSpPr>
          <p:spPr>
            <a:xfrm>
              <a:off x="6277972" y="3915604"/>
              <a:ext cx="2210937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Competenc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Experienc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Referenc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Financial Strength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BEF1FC5-5C79-1C44-B699-F8BB04B21C96}"/>
                </a:ext>
              </a:extLst>
            </p:cNvPr>
            <p:cNvSpPr txBox="1"/>
            <p:nvPr/>
          </p:nvSpPr>
          <p:spPr>
            <a:xfrm>
              <a:off x="8666329" y="3915603"/>
              <a:ext cx="2210937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Technolog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Efficienc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Reliabilit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Scalabilit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Serviceability</a:t>
              </a: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5FC18F6-87ED-D540-8316-C2B3746CA2D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542197" y="1002814"/>
              <a:ext cx="9335069" cy="1972400"/>
            </a:xfrm>
            <a:prstGeom prst="rect">
              <a:avLst/>
            </a:prstGeom>
          </p:spPr>
        </p:pic>
      </p:grp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8103AFE8-0268-4040-AC8F-769A0509B2BE}"/>
              </a:ext>
            </a:extLst>
          </p:cNvPr>
          <p:cNvSpPr/>
          <p:nvPr/>
        </p:nvSpPr>
        <p:spPr>
          <a:xfrm>
            <a:off x="1020635" y="5646057"/>
            <a:ext cx="10539019" cy="55154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andard &amp; Best Practices</a:t>
            </a:r>
          </a:p>
        </p:txBody>
      </p:sp>
    </p:spTree>
    <p:extLst>
      <p:ext uri="{BB962C8B-B14F-4D97-AF65-F5344CB8AC3E}">
        <p14:creationId xmlns:p14="http://schemas.microsoft.com/office/powerpoint/2010/main" val="82626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CzFiYzhkeSR17WAJF1xQ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81</TotalTime>
  <Words>781</Words>
  <Application>Microsoft Office PowerPoint</Application>
  <PresentationFormat>Widescreen</PresentationFormat>
  <Paragraphs>228</Paragraphs>
  <Slides>15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MS PGothic</vt:lpstr>
      <vt:lpstr>Arial</vt:lpstr>
      <vt:lpstr>Calibri</vt:lpstr>
      <vt:lpstr>Gill Sans</vt:lpstr>
      <vt:lpstr>Lucida Grande</vt:lpstr>
      <vt:lpstr>Roboto</vt:lpstr>
      <vt:lpstr>Roboto Bold</vt:lpstr>
      <vt:lpstr>Roboto Light</vt:lpstr>
      <vt:lpstr>Roboto Regular</vt:lpstr>
      <vt:lpstr>Wingdings</vt:lpstr>
      <vt:lpstr>Custom Design</vt:lpstr>
      <vt:lpstr>Clip</vt:lpstr>
      <vt:lpstr>PowerPoint Presentation</vt:lpstr>
      <vt:lpstr>Business Value</vt:lpstr>
      <vt:lpstr>Data Center Layers</vt:lpstr>
      <vt:lpstr>Application Resiliency planning used to be Simple</vt:lpstr>
      <vt:lpstr>Application Resiliency planning used to be Simple</vt:lpstr>
      <vt:lpstr>Application Resiliency planning used to be Simple</vt:lpstr>
      <vt:lpstr>Outages Make the Headline  News and have REAL costs and sometimes generate lawsuits…</vt:lpstr>
      <vt:lpstr>PowerPoint Presentation</vt:lpstr>
      <vt:lpstr>PowerPoint Presentation</vt:lpstr>
      <vt:lpstr>Start with End in Mind</vt:lpstr>
      <vt:lpstr>DC Facility Management - A Comprehensive Approach</vt:lpstr>
      <vt:lpstr>Comprehensive Operation &amp; Management Program</vt:lpstr>
      <vt:lpstr>Hybrid IT</vt:lpstr>
      <vt:lpstr>Recommended Next Steps…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am Romanski</dc:creator>
  <cp:lastModifiedBy>Hannah Stratton</cp:lastModifiedBy>
  <cp:revision>286</cp:revision>
  <cp:lastPrinted>2017-05-03T18:45:35Z</cp:lastPrinted>
  <dcterms:created xsi:type="dcterms:W3CDTF">2017-05-02T05:49:55Z</dcterms:created>
  <dcterms:modified xsi:type="dcterms:W3CDTF">2020-10-14T23:43:22Z</dcterms:modified>
</cp:coreProperties>
</file>